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notesSlides/notesSlide5.xml" ContentType="application/vnd.openxmlformats-officedocument.presentationml.notesSlide+xml"/>
  <Override PartName="/ppt/tags/tag18.xml" ContentType="application/vnd.openxmlformats-officedocument.presentationml.tags+xml"/>
  <Override PartName="/ppt/notesSlides/notesSlide6.xml" ContentType="application/vnd.openxmlformats-officedocument.presentationml.notesSlide+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notesSlides/notesSlide8.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4" r:id="rId4"/>
  </p:sldMasterIdLst>
  <p:notesMasterIdLst>
    <p:notesMasterId r:id="rId14"/>
  </p:notesMasterIdLst>
  <p:handoutMasterIdLst>
    <p:handoutMasterId r:id="rId15"/>
  </p:handoutMasterIdLst>
  <p:sldIdLst>
    <p:sldId id="256" r:id="rId5"/>
    <p:sldId id="2135" r:id="rId6"/>
    <p:sldId id="2156" r:id="rId7"/>
    <p:sldId id="2158" r:id="rId8"/>
    <p:sldId id="2159" r:id="rId9"/>
    <p:sldId id="2160" r:id="rId10"/>
    <p:sldId id="2161" r:id="rId11"/>
    <p:sldId id="2162" r:id="rId12"/>
    <p:sldId id="2149" r:id="rId13"/>
  </p:sldIdLst>
  <p:sldSz cx="12192000" cy="6858000"/>
  <p:notesSz cx="6858000" cy="91440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0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 id="3" name="Aurelien Domont" initials="AD" lastIdx="1" clrIdx="2">
    <p:extLst>
      <p:ext uri="{19B8F6BF-5375-455C-9EA6-DF929625EA0E}">
        <p15:presenceInfo xmlns:p15="http://schemas.microsoft.com/office/powerpoint/2012/main" userId="6da7715ce44349b3"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00"/>
    <a:srgbClr val="3EA9F5"/>
    <a:srgbClr val="EBF2FF"/>
    <a:srgbClr val="D3EFCE"/>
    <a:srgbClr val="F7F7F7"/>
    <a:srgbClr val="EBF6DE"/>
    <a:srgbClr val="D9D9D9"/>
    <a:srgbClr val="92D050"/>
    <a:srgbClr val="FF0000"/>
    <a:srgbClr val="00B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B7AA249-94C6-4B5E-A41E-22A41E94724B}" v="11" dt="2021-08-31T03:14:55.96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890" autoAdjust="0"/>
    <p:restoredTop sz="96357" autoAdjust="0"/>
  </p:normalViewPr>
  <p:slideViewPr>
    <p:cSldViewPr snapToGrid="0">
      <p:cViewPr varScale="1">
        <p:scale>
          <a:sx n="60" d="100"/>
          <a:sy n="60" d="100"/>
        </p:scale>
        <p:origin x="844" y="44"/>
      </p:cViewPr>
      <p:guideLst>
        <p:guide orient="horz" pos="2409"/>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n Domont" userId="6da7715ce44349b3" providerId="LiveId" clId="{1B7AA249-94C6-4B5E-A41E-22A41E94724B}"/>
    <pc:docChg chg="undo custSel addSld delSld modSld sldOrd">
      <pc:chgData name="Aurelien Domont" userId="6da7715ce44349b3" providerId="LiveId" clId="{1B7AA249-94C6-4B5E-A41E-22A41E94724B}" dt="2021-08-31T03:15:11.365" v="80" actId="47"/>
      <pc:docMkLst>
        <pc:docMk/>
      </pc:docMkLst>
      <pc:sldChg chg="add del">
        <pc:chgData name="Aurelien Domont" userId="6da7715ce44349b3" providerId="LiveId" clId="{1B7AA249-94C6-4B5E-A41E-22A41E94724B}" dt="2021-08-31T02:14:28.662" v="1"/>
        <pc:sldMkLst>
          <pc:docMk/>
          <pc:sldMk cId="2401369705" sldId="1390"/>
        </pc:sldMkLst>
      </pc:sldChg>
      <pc:sldChg chg="add del">
        <pc:chgData name="Aurelien Domont" userId="6da7715ce44349b3" providerId="LiveId" clId="{1B7AA249-94C6-4B5E-A41E-22A41E94724B}" dt="2021-08-31T02:14:28.662" v="1"/>
        <pc:sldMkLst>
          <pc:docMk/>
          <pc:sldMk cId="2119140065" sldId="1391"/>
        </pc:sldMkLst>
      </pc:sldChg>
      <pc:sldChg chg="add del">
        <pc:chgData name="Aurelien Domont" userId="6da7715ce44349b3" providerId="LiveId" clId="{1B7AA249-94C6-4B5E-A41E-22A41E94724B}" dt="2021-08-31T02:14:28.662" v="1"/>
        <pc:sldMkLst>
          <pc:docMk/>
          <pc:sldMk cId="3184670003" sldId="1393"/>
        </pc:sldMkLst>
      </pc:sldChg>
      <pc:sldChg chg="add del">
        <pc:chgData name="Aurelien Domont" userId="6da7715ce44349b3" providerId="LiveId" clId="{1B7AA249-94C6-4B5E-A41E-22A41E94724B}" dt="2021-08-31T02:14:28.662" v="1"/>
        <pc:sldMkLst>
          <pc:docMk/>
          <pc:sldMk cId="3418988292" sldId="1394"/>
        </pc:sldMkLst>
      </pc:sldChg>
      <pc:sldChg chg="add del">
        <pc:chgData name="Aurelien Domont" userId="6da7715ce44349b3" providerId="LiveId" clId="{1B7AA249-94C6-4B5E-A41E-22A41E94724B}" dt="2021-08-31T02:14:28.662" v="1"/>
        <pc:sldMkLst>
          <pc:docMk/>
          <pc:sldMk cId="3837839073" sldId="1399"/>
        </pc:sldMkLst>
      </pc:sldChg>
      <pc:sldChg chg="add del">
        <pc:chgData name="Aurelien Domont" userId="6da7715ce44349b3" providerId="LiveId" clId="{1B7AA249-94C6-4B5E-A41E-22A41E94724B}" dt="2021-08-31T02:14:28.662" v="1"/>
        <pc:sldMkLst>
          <pc:docMk/>
          <pc:sldMk cId="2258213234" sldId="1400"/>
        </pc:sldMkLst>
      </pc:sldChg>
      <pc:sldChg chg="add del">
        <pc:chgData name="Aurelien Domont" userId="6da7715ce44349b3" providerId="LiveId" clId="{1B7AA249-94C6-4B5E-A41E-22A41E94724B}" dt="2021-08-31T02:14:28.662" v="1"/>
        <pc:sldMkLst>
          <pc:docMk/>
          <pc:sldMk cId="2805547339" sldId="1401"/>
        </pc:sldMkLst>
      </pc:sldChg>
      <pc:sldChg chg="addSp delSp modSp mod">
        <pc:chgData name="Aurelien Domont" userId="6da7715ce44349b3" providerId="LiveId" clId="{1B7AA249-94C6-4B5E-A41E-22A41E94724B}" dt="2021-08-31T02:15:22.710" v="11" actId="1076"/>
        <pc:sldMkLst>
          <pc:docMk/>
          <pc:sldMk cId="1762358644" sldId="2135"/>
        </pc:sldMkLst>
        <pc:spChg chg="del">
          <ac:chgData name="Aurelien Domont" userId="6da7715ce44349b3" providerId="LiveId" clId="{1B7AA249-94C6-4B5E-A41E-22A41E94724B}" dt="2021-08-31T02:15:19.132" v="9" actId="478"/>
          <ac:spMkLst>
            <pc:docMk/>
            <pc:sldMk cId="1762358644" sldId="2135"/>
            <ac:spMk id="3" creationId="{354CC573-61B1-49E0-840D-529396975FB2}"/>
          </ac:spMkLst>
        </pc:spChg>
        <pc:spChg chg="add del">
          <ac:chgData name="Aurelien Domont" userId="6da7715ce44349b3" providerId="LiveId" clId="{1B7AA249-94C6-4B5E-A41E-22A41E94724B}" dt="2021-08-31T02:15:19.132" v="9" actId="478"/>
          <ac:spMkLst>
            <pc:docMk/>
            <pc:sldMk cId="1762358644" sldId="2135"/>
            <ac:spMk id="11" creationId="{A597398E-9964-4760-BE83-9913F2C81F8F}"/>
          </ac:spMkLst>
        </pc:spChg>
        <pc:spChg chg="add del">
          <ac:chgData name="Aurelien Domont" userId="6da7715ce44349b3" providerId="LiveId" clId="{1B7AA249-94C6-4B5E-A41E-22A41E94724B}" dt="2021-08-31T02:15:19.132" v="9" actId="478"/>
          <ac:spMkLst>
            <pc:docMk/>
            <pc:sldMk cId="1762358644" sldId="2135"/>
            <ac:spMk id="12" creationId="{72A5A317-CCEF-477B-BD7E-E93644D5F443}"/>
          </ac:spMkLst>
        </pc:spChg>
        <pc:spChg chg="add del">
          <ac:chgData name="Aurelien Domont" userId="6da7715ce44349b3" providerId="LiveId" clId="{1B7AA249-94C6-4B5E-A41E-22A41E94724B}" dt="2021-08-31T02:15:19.132" v="9" actId="478"/>
          <ac:spMkLst>
            <pc:docMk/>
            <pc:sldMk cId="1762358644" sldId="2135"/>
            <ac:spMk id="14" creationId="{6F683B2C-4208-4DA2-A5A9-0F54B0DAE309}"/>
          </ac:spMkLst>
        </pc:spChg>
        <pc:spChg chg="add del">
          <ac:chgData name="Aurelien Domont" userId="6da7715ce44349b3" providerId="LiveId" clId="{1B7AA249-94C6-4B5E-A41E-22A41E94724B}" dt="2021-08-31T02:15:19.132" v="9" actId="478"/>
          <ac:spMkLst>
            <pc:docMk/>
            <pc:sldMk cId="1762358644" sldId="2135"/>
            <ac:spMk id="15" creationId="{E0728C11-3ABF-43D2-A256-CCB0E6C16922}"/>
          </ac:spMkLst>
        </pc:spChg>
        <pc:spChg chg="mod">
          <ac:chgData name="Aurelien Domont" userId="6da7715ce44349b3" providerId="LiveId" clId="{1B7AA249-94C6-4B5E-A41E-22A41E94724B}" dt="2021-08-31T02:14:42.545" v="2"/>
          <ac:spMkLst>
            <pc:docMk/>
            <pc:sldMk cId="1762358644" sldId="2135"/>
            <ac:spMk id="16" creationId="{6C2BB713-9637-4B9B-938F-E9768876782A}"/>
          </ac:spMkLst>
        </pc:spChg>
        <pc:spChg chg="add del">
          <ac:chgData name="Aurelien Domont" userId="6da7715ce44349b3" providerId="LiveId" clId="{1B7AA249-94C6-4B5E-A41E-22A41E94724B}" dt="2021-08-31T02:15:19.132" v="9" actId="478"/>
          <ac:spMkLst>
            <pc:docMk/>
            <pc:sldMk cId="1762358644" sldId="2135"/>
            <ac:spMk id="17" creationId="{428E633A-A6A0-4F56-8F9A-73FB8A86AE93}"/>
          </ac:spMkLst>
        </pc:spChg>
        <pc:spChg chg="add del">
          <ac:chgData name="Aurelien Domont" userId="6da7715ce44349b3" providerId="LiveId" clId="{1B7AA249-94C6-4B5E-A41E-22A41E94724B}" dt="2021-08-31T02:15:19.132" v="9" actId="478"/>
          <ac:spMkLst>
            <pc:docMk/>
            <pc:sldMk cId="1762358644" sldId="2135"/>
            <ac:spMk id="18" creationId="{17E45525-5679-4837-B6D1-8BFA31BC8485}"/>
          </ac:spMkLst>
        </pc:spChg>
        <pc:spChg chg="add del">
          <ac:chgData name="Aurelien Domont" userId="6da7715ce44349b3" providerId="LiveId" clId="{1B7AA249-94C6-4B5E-A41E-22A41E94724B}" dt="2021-08-31T02:15:19.132" v="9" actId="478"/>
          <ac:spMkLst>
            <pc:docMk/>
            <pc:sldMk cId="1762358644" sldId="2135"/>
            <ac:spMk id="19" creationId="{A478F9CB-73E3-462B-836A-F8144A3609D7}"/>
          </ac:spMkLst>
        </pc:spChg>
        <pc:spChg chg="add del">
          <ac:chgData name="Aurelien Domont" userId="6da7715ce44349b3" providerId="LiveId" clId="{1B7AA249-94C6-4B5E-A41E-22A41E94724B}" dt="2021-08-31T02:15:19.132" v="9" actId="478"/>
          <ac:spMkLst>
            <pc:docMk/>
            <pc:sldMk cId="1762358644" sldId="2135"/>
            <ac:spMk id="20" creationId="{9D040486-FC04-4F02-8EFC-3633F4DC8C01}"/>
          </ac:spMkLst>
        </pc:spChg>
        <pc:spChg chg="add del">
          <ac:chgData name="Aurelien Domont" userId="6da7715ce44349b3" providerId="LiveId" clId="{1B7AA249-94C6-4B5E-A41E-22A41E94724B}" dt="2021-08-31T02:15:19.132" v="9" actId="478"/>
          <ac:spMkLst>
            <pc:docMk/>
            <pc:sldMk cId="1762358644" sldId="2135"/>
            <ac:spMk id="22" creationId="{0DDF831D-1EB0-4DC1-9020-DF869F5ADC99}"/>
          </ac:spMkLst>
        </pc:spChg>
        <pc:spChg chg="mod">
          <ac:chgData name="Aurelien Domont" userId="6da7715ce44349b3" providerId="LiveId" clId="{1B7AA249-94C6-4B5E-A41E-22A41E94724B}" dt="2021-08-31T02:15:22.710" v="11" actId="1076"/>
          <ac:spMkLst>
            <pc:docMk/>
            <pc:sldMk cId="1762358644" sldId="2135"/>
            <ac:spMk id="23" creationId="{6E9DA8A1-6D78-476B-82F7-AF479DAAF766}"/>
          </ac:spMkLst>
        </pc:spChg>
        <pc:spChg chg="mod">
          <ac:chgData name="Aurelien Domont" userId="6da7715ce44349b3" providerId="LiveId" clId="{1B7AA249-94C6-4B5E-A41E-22A41E94724B}" dt="2021-08-31T02:15:22.710" v="11" actId="1076"/>
          <ac:spMkLst>
            <pc:docMk/>
            <pc:sldMk cId="1762358644" sldId="2135"/>
            <ac:spMk id="24" creationId="{3BC0DE56-73CC-46BE-9FBA-6DA815B15DFC}"/>
          </ac:spMkLst>
        </pc:spChg>
        <pc:spChg chg="add del">
          <ac:chgData name="Aurelien Domont" userId="6da7715ce44349b3" providerId="LiveId" clId="{1B7AA249-94C6-4B5E-A41E-22A41E94724B}" dt="2021-08-31T02:15:19.132" v="9" actId="478"/>
          <ac:spMkLst>
            <pc:docMk/>
            <pc:sldMk cId="1762358644" sldId="2135"/>
            <ac:spMk id="25" creationId="{CFE1FE9C-2E84-4EBD-B9A3-7B0776C7743E}"/>
          </ac:spMkLst>
        </pc:spChg>
        <pc:spChg chg="mod">
          <ac:chgData name="Aurelien Domont" userId="6da7715ce44349b3" providerId="LiveId" clId="{1B7AA249-94C6-4B5E-A41E-22A41E94724B}" dt="2021-08-31T02:15:22.710" v="11" actId="1076"/>
          <ac:spMkLst>
            <pc:docMk/>
            <pc:sldMk cId="1762358644" sldId="2135"/>
            <ac:spMk id="26" creationId="{70F56CDE-16F1-40C6-A139-318E8F2481C9}"/>
          </ac:spMkLst>
        </pc:spChg>
        <pc:spChg chg="mod">
          <ac:chgData name="Aurelien Domont" userId="6da7715ce44349b3" providerId="LiveId" clId="{1B7AA249-94C6-4B5E-A41E-22A41E94724B}" dt="2021-08-31T02:15:22.710" v="11" actId="1076"/>
          <ac:spMkLst>
            <pc:docMk/>
            <pc:sldMk cId="1762358644" sldId="2135"/>
            <ac:spMk id="28" creationId="{8364D770-E18E-41B7-A036-DEC1C380D55C}"/>
          </ac:spMkLst>
        </pc:spChg>
        <pc:spChg chg="mod">
          <ac:chgData name="Aurelien Domont" userId="6da7715ce44349b3" providerId="LiveId" clId="{1B7AA249-94C6-4B5E-A41E-22A41E94724B}" dt="2021-08-31T02:15:22.710" v="11" actId="1076"/>
          <ac:spMkLst>
            <pc:docMk/>
            <pc:sldMk cId="1762358644" sldId="2135"/>
            <ac:spMk id="29" creationId="{551906A5-064C-4EAF-BA54-E9047BAF5CE2}"/>
          </ac:spMkLst>
        </pc:spChg>
        <pc:spChg chg="mod">
          <ac:chgData name="Aurelien Domont" userId="6da7715ce44349b3" providerId="LiveId" clId="{1B7AA249-94C6-4B5E-A41E-22A41E94724B}" dt="2021-08-31T02:15:22.710" v="11" actId="1076"/>
          <ac:spMkLst>
            <pc:docMk/>
            <pc:sldMk cId="1762358644" sldId="2135"/>
            <ac:spMk id="31" creationId="{46169E6B-3B1C-489C-A361-632E8B3EE31E}"/>
          </ac:spMkLst>
        </pc:spChg>
        <pc:spChg chg="mod">
          <ac:chgData name="Aurelien Domont" userId="6da7715ce44349b3" providerId="LiveId" clId="{1B7AA249-94C6-4B5E-A41E-22A41E94724B}" dt="2021-08-31T02:15:22.710" v="11" actId="1076"/>
          <ac:spMkLst>
            <pc:docMk/>
            <pc:sldMk cId="1762358644" sldId="2135"/>
            <ac:spMk id="32" creationId="{DFD09A92-548D-4771-9B53-808839D01E11}"/>
          </ac:spMkLst>
        </pc:spChg>
        <pc:spChg chg="mod">
          <ac:chgData name="Aurelien Domont" userId="6da7715ce44349b3" providerId="LiveId" clId="{1B7AA249-94C6-4B5E-A41E-22A41E94724B}" dt="2021-08-31T02:15:22.710" v="11" actId="1076"/>
          <ac:spMkLst>
            <pc:docMk/>
            <pc:sldMk cId="1762358644" sldId="2135"/>
            <ac:spMk id="33" creationId="{3B680B59-AEE7-44FE-A648-98EC62A05ED6}"/>
          </ac:spMkLst>
        </pc:spChg>
        <pc:spChg chg="mod">
          <ac:chgData name="Aurelien Domont" userId="6da7715ce44349b3" providerId="LiveId" clId="{1B7AA249-94C6-4B5E-A41E-22A41E94724B}" dt="2021-08-31T02:15:22.710" v="11" actId="1076"/>
          <ac:spMkLst>
            <pc:docMk/>
            <pc:sldMk cId="1762358644" sldId="2135"/>
            <ac:spMk id="35" creationId="{092267C9-918E-4978-9DA8-5E5290DF476D}"/>
          </ac:spMkLst>
        </pc:spChg>
        <pc:spChg chg="mod">
          <ac:chgData name="Aurelien Domont" userId="6da7715ce44349b3" providerId="LiveId" clId="{1B7AA249-94C6-4B5E-A41E-22A41E94724B}" dt="2021-08-31T02:15:22.710" v="11" actId="1076"/>
          <ac:spMkLst>
            <pc:docMk/>
            <pc:sldMk cId="1762358644" sldId="2135"/>
            <ac:spMk id="36" creationId="{DB9C14F8-FE72-4621-9D6C-47CA6FA3C19D}"/>
          </ac:spMkLst>
        </pc:spChg>
        <pc:grpChg chg="add mod">
          <ac:chgData name="Aurelien Domont" userId="6da7715ce44349b3" providerId="LiveId" clId="{1B7AA249-94C6-4B5E-A41E-22A41E94724B}" dt="2021-08-31T02:15:22.710" v="11" actId="1076"/>
          <ac:grpSpMkLst>
            <pc:docMk/>
            <pc:sldMk cId="1762358644" sldId="2135"/>
            <ac:grpSpMk id="21" creationId="{BFDBD0B1-6099-4A1A-980D-F772617F4686}"/>
          </ac:grpSpMkLst>
        </pc:grpChg>
        <pc:grpChg chg="add mod">
          <ac:chgData name="Aurelien Domont" userId="6da7715ce44349b3" providerId="LiveId" clId="{1B7AA249-94C6-4B5E-A41E-22A41E94724B}" dt="2021-08-31T02:15:22.710" v="11" actId="1076"/>
          <ac:grpSpMkLst>
            <pc:docMk/>
            <pc:sldMk cId="1762358644" sldId="2135"/>
            <ac:grpSpMk id="27" creationId="{6AEF950D-8ED2-48D8-9DB6-48F4DFC163BB}"/>
          </ac:grpSpMkLst>
        </pc:grpChg>
        <pc:grpChg chg="add mod">
          <ac:chgData name="Aurelien Domont" userId="6da7715ce44349b3" providerId="LiveId" clId="{1B7AA249-94C6-4B5E-A41E-22A41E94724B}" dt="2021-08-31T02:15:22.710" v="11" actId="1076"/>
          <ac:grpSpMkLst>
            <pc:docMk/>
            <pc:sldMk cId="1762358644" sldId="2135"/>
            <ac:grpSpMk id="30" creationId="{FC0F4A9E-1F24-411E-9BC2-427C7242AD62}"/>
          </ac:grpSpMkLst>
        </pc:grpChg>
        <pc:grpChg chg="add mod">
          <ac:chgData name="Aurelien Domont" userId="6da7715ce44349b3" providerId="LiveId" clId="{1B7AA249-94C6-4B5E-A41E-22A41E94724B}" dt="2021-08-31T02:15:22.710" v="11" actId="1076"/>
          <ac:grpSpMkLst>
            <pc:docMk/>
            <pc:sldMk cId="1762358644" sldId="2135"/>
            <ac:grpSpMk id="34" creationId="{E5D8819D-7B28-4691-A2DB-1A4F01375D6D}"/>
          </ac:grpSpMkLst>
        </pc:grpChg>
      </pc:sldChg>
      <pc:sldChg chg="del">
        <pc:chgData name="Aurelien Domont" userId="6da7715ce44349b3" providerId="LiveId" clId="{1B7AA249-94C6-4B5E-A41E-22A41E94724B}" dt="2021-08-31T03:15:11.365" v="80" actId="47"/>
        <pc:sldMkLst>
          <pc:docMk/>
          <pc:sldMk cId="4275703370" sldId="2151"/>
        </pc:sldMkLst>
      </pc:sldChg>
      <pc:sldChg chg="del">
        <pc:chgData name="Aurelien Domont" userId="6da7715ce44349b3" providerId="LiveId" clId="{1B7AA249-94C6-4B5E-A41E-22A41E94724B}" dt="2021-08-31T03:15:11.365" v="80" actId="47"/>
        <pc:sldMkLst>
          <pc:docMk/>
          <pc:sldMk cId="3109121106" sldId="2152"/>
        </pc:sldMkLst>
      </pc:sldChg>
      <pc:sldChg chg="del">
        <pc:chgData name="Aurelien Domont" userId="6da7715ce44349b3" providerId="LiveId" clId="{1B7AA249-94C6-4B5E-A41E-22A41E94724B}" dt="2021-08-31T03:15:11.365" v="80" actId="47"/>
        <pc:sldMkLst>
          <pc:docMk/>
          <pc:sldMk cId="53650624" sldId="2153"/>
        </pc:sldMkLst>
      </pc:sldChg>
      <pc:sldChg chg="del">
        <pc:chgData name="Aurelien Domont" userId="6da7715ce44349b3" providerId="LiveId" clId="{1B7AA249-94C6-4B5E-A41E-22A41E94724B}" dt="2021-08-31T03:15:11.365" v="80" actId="47"/>
        <pc:sldMkLst>
          <pc:docMk/>
          <pc:sldMk cId="3552330534" sldId="2154"/>
        </pc:sldMkLst>
      </pc:sldChg>
      <pc:sldChg chg="del">
        <pc:chgData name="Aurelien Domont" userId="6da7715ce44349b3" providerId="LiveId" clId="{1B7AA249-94C6-4B5E-A41E-22A41E94724B}" dt="2021-08-31T03:15:11.365" v="80" actId="47"/>
        <pc:sldMkLst>
          <pc:docMk/>
          <pc:sldMk cId="159796775" sldId="2155"/>
        </pc:sldMkLst>
      </pc:sldChg>
      <pc:sldChg chg="addSp delSp modSp add mod ord">
        <pc:chgData name="Aurelien Domont" userId="6da7715ce44349b3" providerId="LiveId" clId="{1B7AA249-94C6-4B5E-A41E-22A41E94724B}" dt="2021-08-31T03:12:41.046" v="57" actId="22"/>
        <pc:sldMkLst>
          <pc:docMk/>
          <pc:sldMk cId="3556507110" sldId="2156"/>
        </pc:sldMkLst>
        <pc:spChg chg="del">
          <ac:chgData name="Aurelien Domont" userId="6da7715ce44349b3" providerId="LiveId" clId="{1B7AA249-94C6-4B5E-A41E-22A41E94724B}" dt="2021-08-31T03:05:57.608" v="15" actId="478"/>
          <ac:spMkLst>
            <pc:docMk/>
            <pc:sldMk cId="3556507110" sldId="2156"/>
            <ac:spMk id="3" creationId="{354CC573-61B1-49E0-840D-529396975FB2}"/>
          </ac:spMkLst>
        </pc:spChg>
        <pc:spChg chg="mod">
          <ac:chgData name="Aurelien Domont" userId="6da7715ce44349b3" providerId="LiveId" clId="{1B7AA249-94C6-4B5E-A41E-22A41E94724B}" dt="2021-08-31T03:12:32.590" v="55" actId="1076"/>
          <ac:spMkLst>
            <pc:docMk/>
            <pc:sldMk cId="3556507110" sldId="2156"/>
            <ac:spMk id="11" creationId="{A597398E-9964-4760-BE83-9913F2C81F8F}"/>
          </ac:spMkLst>
        </pc:spChg>
        <pc:spChg chg="mod">
          <ac:chgData name="Aurelien Domont" userId="6da7715ce44349b3" providerId="LiveId" clId="{1B7AA249-94C6-4B5E-A41E-22A41E94724B}" dt="2021-08-31T03:12:32.590" v="55" actId="1076"/>
          <ac:spMkLst>
            <pc:docMk/>
            <pc:sldMk cId="3556507110" sldId="2156"/>
            <ac:spMk id="12" creationId="{72A5A317-CCEF-477B-BD7E-E93644D5F443}"/>
          </ac:spMkLst>
        </pc:spChg>
        <pc:spChg chg="mod">
          <ac:chgData name="Aurelien Domont" userId="6da7715ce44349b3" providerId="LiveId" clId="{1B7AA249-94C6-4B5E-A41E-22A41E94724B}" dt="2021-08-31T03:12:32.590" v="55" actId="1076"/>
          <ac:spMkLst>
            <pc:docMk/>
            <pc:sldMk cId="3556507110" sldId="2156"/>
            <ac:spMk id="14" creationId="{6F683B2C-4208-4DA2-A5A9-0F54B0DAE309}"/>
          </ac:spMkLst>
        </pc:spChg>
        <pc:spChg chg="mod">
          <ac:chgData name="Aurelien Domont" userId="6da7715ce44349b3" providerId="LiveId" clId="{1B7AA249-94C6-4B5E-A41E-22A41E94724B}" dt="2021-08-31T03:12:32.590" v="55" actId="1076"/>
          <ac:spMkLst>
            <pc:docMk/>
            <pc:sldMk cId="3556507110" sldId="2156"/>
            <ac:spMk id="15" creationId="{E0728C11-3ABF-43D2-A256-CCB0E6C16922}"/>
          </ac:spMkLst>
        </pc:spChg>
        <pc:spChg chg="mod">
          <ac:chgData name="Aurelien Domont" userId="6da7715ce44349b3" providerId="LiveId" clId="{1B7AA249-94C6-4B5E-A41E-22A41E94724B}" dt="2021-08-31T03:05:52.197" v="14"/>
          <ac:spMkLst>
            <pc:docMk/>
            <pc:sldMk cId="3556507110" sldId="2156"/>
            <ac:spMk id="16" creationId="{6C2BB713-9637-4B9B-938F-E9768876782A}"/>
          </ac:spMkLst>
        </pc:spChg>
        <pc:spChg chg="mod">
          <ac:chgData name="Aurelien Domont" userId="6da7715ce44349b3" providerId="LiveId" clId="{1B7AA249-94C6-4B5E-A41E-22A41E94724B}" dt="2021-08-31T03:12:32.590" v="55" actId="1076"/>
          <ac:spMkLst>
            <pc:docMk/>
            <pc:sldMk cId="3556507110" sldId="2156"/>
            <ac:spMk id="17" creationId="{428E633A-A6A0-4F56-8F9A-73FB8A86AE93}"/>
          </ac:spMkLst>
        </pc:spChg>
        <pc:spChg chg="mod">
          <ac:chgData name="Aurelien Domont" userId="6da7715ce44349b3" providerId="LiveId" clId="{1B7AA249-94C6-4B5E-A41E-22A41E94724B}" dt="2021-08-31T03:12:32.590" v="55" actId="1076"/>
          <ac:spMkLst>
            <pc:docMk/>
            <pc:sldMk cId="3556507110" sldId="2156"/>
            <ac:spMk id="18" creationId="{17E45525-5679-4837-B6D1-8BFA31BC8485}"/>
          </ac:spMkLst>
        </pc:spChg>
        <pc:spChg chg="mod">
          <ac:chgData name="Aurelien Domont" userId="6da7715ce44349b3" providerId="LiveId" clId="{1B7AA249-94C6-4B5E-A41E-22A41E94724B}" dt="2021-08-31T03:12:32.590" v="55" actId="1076"/>
          <ac:spMkLst>
            <pc:docMk/>
            <pc:sldMk cId="3556507110" sldId="2156"/>
            <ac:spMk id="19" creationId="{A478F9CB-73E3-462B-836A-F8144A3609D7}"/>
          </ac:spMkLst>
        </pc:spChg>
        <pc:spChg chg="mod">
          <ac:chgData name="Aurelien Domont" userId="6da7715ce44349b3" providerId="LiveId" clId="{1B7AA249-94C6-4B5E-A41E-22A41E94724B}" dt="2021-08-31T03:12:32.590" v="55" actId="1076"/>
          <ac:spMkLst>
            <pc:docMk/>
            <pc:sldMk cId="3556507110" sldId="2156"/>
            <ac:spMk id="20" creationId="{9D040486-FC04-4F02-8EFC-3633F4DC8C01}"/>
          </ac:spMkLst>
        </pc:spChg>
        <pc:spChg chg="add del">
          <ac:chgData name="Aurelien Domont" userId="6da7715ce44349b3" providerId="LiveId" clId="{1B7AA249-94C6-4B5E-A41E-22A41E94724B}" dt="2021-08-31T03:12:41.046" v="57" actId="22"/>
          <ac:spMkLst>
            <pc:docMk/>
            <pc:sldMk cId="3556507110" sldId="2156"/>
            <ac:spMk id="21" creationId="{95CBE5E7-92A9-43D9-828E-EDF46B483678}"/>
          </ac:spMkLst>
        </pc:spChg>
        <pc:spChg chg="mod">
          <ac:chgData name="Aurelien Domont" userId="6da7715ce44349b3" providerId="LiveId" clId="{1B7AA249-94C6-4B5E-A41E-22A41E94724B}" dt="2021-08-31T03:12:32.590" v="55" actId="1076"/>
          <ac:spMkLst>
            <pc:docMk/>
            <pc:sldMk cId="3556507110" sldId="2156"/>
            <ac:spMk id="22" creationId="{0DDF831D-1EB0-4DC1-9020-DF869F5ADC99}"/>
          </ac:spMkLst>
        </pc:spChg>
        <pc:spChg chg="mod">
          <ac:chgData name="Aurelien Domont" userId="6da7715ce44349b3" providerId="LiveId" clId="{1B7AA249-94C6-4B5E-A41E-22A41E94724B}" dt="2021-08-31T03:12:32.590" v="55" actId="1076"/>
          <ac:spMkLst>
            <pc:docMk/>
            <pc:sldMk cId="3556507110" sldId="2156"/>
            <ac:spMk id="25" creationId="{CFE1FE9C-2E84-4EBD-B9A3-7B0776C7743E}"/>
          </ac:spMkLst>
        </pc:spChg>
      </pc:sldChg>
      <pc:sldChg chg="addSp modSp new del mod">
        <pc:chgData name="Aurelien Domont" userId="6da7715ce44349b3" providerId="LiveId" clId="{1B7AA249-94C6-4B5E-A41E-22A41E94724B}" dt="2021-08-31T03:15:11.365" v="80" actId="47"/>
        <pc:sldMkLst>
          <pc:docMk/>
          <pc:sldMk cId="1723385243" sldId="2157"/>
        </pc:sldMkLst>
        <pc:spChg chg="add mod">
          <ac:chgData name="Aurelien Domont" userId="6da7715ce44349b3" providerId="LiveId" clId="{1B7AA249-94C6-4B5E-A41E-22A41E94724B}" dt="2021-08-31T02:15:08.585" v="8" actId="13822"/>
          <ac:spMkLst>
            <pc:docMk/>
            <pc:sldMk cId="1723385243" sldId="2157"/>
            <ac:spMk id="8" creationId="{467EA76C-A294-4E44-89D7-2F05125DE59C}"/>
          </ac:spMkLst>
        </pc:spChg>
      </pc:sldChg>
      <pc:sldChg chg="addSp delSp modSp add mod">
        <pc:chgData name="Aurelien Domont" userId="6da7715ce44349b3" providerId="LiveId" clId="{1B7AA249-94C6-4B5E-A41E-22A41E94724B}" dt="2021-08-31T03:13:03.952" v="63"/>
        <pc:sldMkLst>
          <pc:docMk/>
          <pc:sldMk cId="2904924431" sldId="2158"/>
        </pc:sldMkLst>
        <pc:spChg chg="add mod">
          <ac:chgData name="Aurelien Domont" userId="6da7715ce44349b3" providerId="LiveId" clId="{1B7AA249-94C6-4B5E-A41E-22A41E94724B}" dt="2021-08-31T03:13:03.952" v="63"/>
          <ac:spMkLst>
            <pc:docMk/>
            <pc:sldMk cId="2904924431" sldId="2158"/>
            <ac:spMk id="3" creationId="{4A86BE2E-9A5E-4932-B43D-23B6B0E5EFA4}"/>
          </ac:spMkLst>
        </pc:spChg>
        <pc:spChg chg="del">
          <ac:chgData name="Aurelien Domont" userId="6da7715ce44349b3" providerId="LiveId" clId="{1B7AA249-94C6-4B5E-A41E-22A41E94724B}" dt="2021-08-31T03:12:57.378" v="60" actId="478"/>
          <ac:spMkLst>
            <pc:docMk/>
            <pc:sldMk cId="2904924431" sldId="2158"/>
            <ac:spMk id="11" creationId="{A597398E-9964-4760-BE83-9913F2C81F8F}"/>
          </ac:spMkLst>
        </pc:spChg>
        <pc:spChg chg="del">
          <ac:chgData name="Aurelien Domont" userId="6da7715ce44349b3" providerId="LiveId" clId="{1B7AA249-94C6-4B5E-A41E-22A41E94724B}" dt="2021-08-31T03:12:57.378" v="60" actId="478"/>
          <ac:spMkLst>
            <pc:docMk/>
            <pc:sldMk cId="2904924431" sldId="2158"/>
            <ac:spMk id="12" creationId="{72A5A317-CCEF-477B-BD7E-E93644D5F443}"/>
          </ac:spMkLst>
        </pc:spChg>
        <pc:spChg chg="del">
          <ac:chgData name="Aurelien Domont" userId="6da7715ce44349b3" providerId="LiveId" clId="{1B7AA249-94C6-4B5E-A41E-22A41E94724B}" dt="2021-08-31T03:12:57.378" v="60" actId="478"/>
          <ac:spMkLst>
            <pc:docMk/>
            <pc:sldMk cId="2904924431" sldId="2158"/>
            <ac:spMk id="14" creationId="{6F683B2C-4208-4DA2-A5A9-0F54B0DAE309}"/>
          </ac:spMkLst>
        </pc:spChg>
        <pc:spChg chg="del">
          <ac:chgData name="Aurelien Domont" userId="6da7715ce44349b3" providerId="LiveId" clId="{1B7AA249-94C6-4B5E-A41E-22A41E94724B}" dt="2021-08-31T03:12:57.378" v="60" actId="478"/>
          <ac:spMkLst>
            <pc:docMk/>
            <pc:sldMk cId="2904924431" sldId="2158"/>
            <ac:spMk id="15" creationId="{E0728C11-3ABF-43D2-A256-CCB0E6C16922}"/>
          </ac:spMkLst>
        </pc:spChg>
        <pc:spChg chg="mod">
          <ac:chgData name="Aurelien Domont" userId="6da7715ce44349b3" providerId="LiveId" clId="{1B7AA249-94C6-4B5E-A41E-22A41E94724B}" dt="2021-08-31T03:12:48.110" v="59"/>
          <ac:spMkLst>
            <pc:docMk/>
            <pc:sldMk cId="2904924431" sldId="2158"/>
            <ac:spMk id="16" creationId="{6C2BB713-9637-4B9B-938F-E9768876782A}"/>
          </ac:spMkLst>
        </pc:spChg>
        <pc:spChg chg="del">
          <ac:chgData name="Aurelien Domont" userId="6da7715ce44349b3" providerId="LiveId" clId="{1B7AA249-94C6-4B5E-A41E-22A41E94724B}" dt="2021-08-31T03:12:57.378" v="60" actId="478"/>
          <ac:spMkLst>
            <pc:docMk/>
            <pc:sldMk cId="2904924431" sldId="2158"/>
            <ac:spMk id="17" creationId="{428E633A-A6A0-4F56-8F9A-73FB8A86AE93}"/>
          </ac:spMkLst>
        </pc:spChg>
        <pc:spChg chg="del">
          <ac:chgData name="Aurelien Domont" userId="6da7715ce44349b3" providerId="LiveId" clId="{1B7AA249-94C6-4B5E-A41E-22A41E94724B}" dt="2021-08-31T03:12:57.378" v="60" actId="478"/>
          <ac:spMkLst>
            <pc:docMk/>
            <pc:sldMk cId="2904924431" sldId="2158"/>
            <ac:spMk id="18" creationId="{17E45525-5679-4837-B6D1-8BFA31BC8485}"/>
          </ac:spMkLst>
        </pc:spChg>
        <pc:spChg chg="del">
          <ac:chgData name="Aurelien Domont" userId="6da7715ce44349b3" providerId="LiveId" clId="{1B7AA249-94C6-4B5E-A41E-22A41E94724B}" dt="2021-08-31T03:12:57.378" v="60" actId="478"/>
          <ac:spMkLst>
            <pc:docMk/>
            <pc:sldMk cId="2904924431" sldId="2158"/>
            <ac:spMk id="19" creationId="{A478F9CB-73E3-462B-836A-F8144A3609D7}"/>
          </ac:spMkLst>
        </pc:spChg>
        <pc:spChg chg="del">
          <ac:chgData name="Aurelien Domont" userId="6da7715ce44349b3" providerId="LiveId" clId="{1B7AA249-94C6-4B5E-A41E-22A41E94724B}" dt="2021-08-31T03:12:57.378" v="60" actId="478"/>
          <ac:spMkLst>
            <pc:docMk/>
            <pc:sldMk cId="2904924431" sldId="2158"/>
            <ac:spMk id="20" creationId="{9D040486-FC04-4F02-8EFC-3633F4DC8C01}"/>
          </ac:spMkLst>
        </pc:spChg>
        <pc:spChg chg="del">
          <ac:chgData name="Aurelien Domont" userId="6da7715ce44349b3" providerId="LiveId" clId="{1B7AA249-94C6-4B5E-A41E-22A41E94724B}" dt="2021-08-31T03:12:57.378" v="60" actId="478"/>
          <ac:spMkLst>
            <pc:docMk/>
            <pc:sldMk cId="2904924431" sldId="2158"/>
            <ac:spMk id="22" creationId="{0DDF831D-1EB0-4DC1-9020-DF869F5ADC99}"/>
          </ac:spMkLst>
        </pc:spChg>
        <pc:spChg chg="del">
          <ac:chgData name="Aurelien Domont" userId="6da7715ce44349b3" providerId="LiveId" clId="{1B7AA249-94C6-4B5E-A41E-22A41E94724B}" dt="2021-08-31T03:12:57.378" v="60" actId="478"/>
          <ac:spMkLst>
            <pc:docMk/>
            <pc:sldMk cId="2904924431" sldId="2158"/>
            <ac:spMk id="25" creationId="{CFE1FE9C-2E84-4EBD-B9A3-7B0776C7743E}"/>
          </ac:spMkLst>
        </pc:spChg>
      </pc:sldChg>
      <pc:sldChg chg="modSp add mod">
        <pc:chgData name="Aurelien Domont" userId="6da7715ce44349b3" providerId="LiveId" clId="{1B7AA249-94C6-4B5E-A41E-22A41E94724B}" dt="2021-08-31T03:13:22.879" v="70" actId="403"/>
        <pc:sldMkLst>
          <pc:docMk/>
          <pc:sldMk cId="1120914361" sldId="2159"/>
        </pc:sldMkLst>
        <pc:spChg chg="mod">
          <ac:chgData name="Aurelien Domont" userId="6da7715ce44349b3" providerId="LiveId" clId="{1B7AA249-94C6-4B5E-A41E-22A41E94724B}" dt="2021-08-31T03:13:22.879" v="70" actId="403"/>
          <ac:spMkLst>
            <pc:docMk/>
            <pc:sldMk cId="1120914361" sldId="2159"/>
            <ac:spMk id="3" creationId="{4A86BE2E-9A5E-4932-B43D-23B6B0E5EFA4}"/>
          </ac:spMkLst>
        </pc:spChg>
        <pc:spChg chg="mod">
          <ac:chgData name="Aurelien Domont" userId="6da7715ce44349b3" providerId="LiveId" clId="{1B7AA249-94C6-4B5E-A41E-22A41E94724B}" dt="2021-08-31T03:13:14.469" v="65"/>
          <ac:spMkLst>
            <pc:docMk/>
            <pc:sldMk cId="1120914361" sldId="2159"/>
            <ac:spMk id="16" creationId="{6C2BB713-9637-4B9B-938F-E9768876782A}"/>
          </ac:spMkLst>
        </pc:spChg>
      </pc:sldChg>
      <pc:sldChg chg="modSp add mod">
        <pc:chgData name="Aurelien Domont" userId="6da7715ce44349b3" providerId="LiveId" clId="{1B7AA249-94C6-4B5E-A41E-22A41E94724B}" dt="2021-08-31T03:13:50.581" v="73"/>
        <pc:sldMkLst>
          <pc:docMk/>
          <pc:sldMk cId="2875886567" sldId="2160"/>
        </pc:sldMkLst>
        <pc:spChg chg="mod">
          <ac:chgData name="Aurelien Domont" userId="6da7715ce44349b3" providerId="LiveId" clId="{1B7AA249-94C6-4B5E-A41E-22A41E94724B}" dt="2021-08-31T03:13:40.160" v="72"/>
          <ac:spMkLst>
            <pc:docMk/>
            <pc:sldMk cId="2875886567" sldId="2160"/>
            <ac:spMk id="3" creationId="{4A86BE2E-9A5E-4932-B43D-23B6B0E5EFA4}"/>
          </ac:spMkLst>
        </pc:spChg>
        <pc:spChg chg="mod">
          <ac:chgData name="Aurelien Domont" userId="6da7715ce44349b3" providerId="LiveId" clId="{1B7AA249-94C6-4B5E-A41E-22A41E94724B}" dt="2021-08-31T03:13:50.581" v="73"/>
          <ac:spMkLst>
            <pc:docMk/>
            <pc:sldMk cId="2875886567" sldId="2160"/>
            <ac:spMk id="16" creationId="{6C2BB713-9637-4B9B-938F-E9768876782A}"/>
          </ac:spMkLst>
        </pc:spChg>
      </pc:sldChg>
      <pc:sldChg chg="modSp add mod">
        <pc:chgData name="Aurelien Domont" userId="6da7715ce44349b3" providerId="LiveId" clId="{1B7AA249-94C6-4B5E-A41E-22A41E94724B}" dt="2021-08-31T03:14:53.724" v="76"/>
        <pc:sldMkLst>
          <pc:docMk/>
          <pc:sldMk cId="1827350931" sldId="2161"/>
        </pc:sldMkLst>
        <pc:spChg chg="mod">
          <ac:chgData name="Aurelien Domont" userId="6da7715ce44349b3" providerId="LiveId" clId="{1B7AA249-94C6-4B5E-A41E-22A41E94724B}" dt="2021-08-31T03:14:53.724" v="76"/>
          <ac:spMkLst>
            <pc:docMk/>
            <pc:sldMk cId="1827350931" sldId="2161"/>
            <ac:spMk id="3" creationId="{4A86BE2E-9A5E-4932-B43D-23B6B0E5EFA4}"/>
          </ac:spMkLst>
        </pc:spChg>
        <pc:spChg chg="mod">
          <ac:chgData name="Aurelien Domont" userId="6da7715ce44349b3" providerId="LiveId" clId="{1B7AA249-94C6-4B5E-A41E-22A41E94724B}" dt="2021-08-31T03:14:48.628" v="75"/>
          <ac:spMkLst>
            <pc:docMk/>
            <pc:sldMk cId="1827350931" sldId="2161"/>
            <ac:spMk id="16" creationId="{6C2BB713-9637-4B9B-938F-E9768876782A}"/>
          </ac:spMkLst>
        </pc:spChg>
      </pc:sldChg>
      <pc:sldChg chg="modSp add mod">
        <pc:chgData name="Aurelien Domont" userId="6da7715ce44349b3" providerId="LiveId" clId="{1B7AA249-94C6-4B5E-A41E-22A41E94724B}" dt="2021-08-31T03:15:06.160" v="79"/>
        <pc:sldMkLst>
          <pc:docMk/>
          <pc:sldMk cId="2640303264" sldId="2162"/>
        </pc:sldMkLst>
        <pc:spChg chg="mod">
          <ac:chgData name="Aurelien Domont" userId="6da7715ce44349b3" providerId="LiveId" clId="{1B7AA249-94C6-4B5E-A41E-22A41E94724B}" dt="2021-08-31T03:15:06.160" v="79"/>
          <ac:spMkLst>
            <pc:docMk/>
            <pc:sldMk cId="2640303264" sldId="2162"/>
            <ac:spMk id="3" creationId="{4A86BE2E-9A5E-4932-B43D-23B6B0E5EFA4}"/>
          </ac:spMkLst>
        </pc:spChg>
        <pc:spChg chg="mod">
          <ac:chgData name="Aurelien Domont" userId="6da7715ce44349b3" providerId="LiveId" clId="{1B7AA249-94C6-4B5E-A41E-22A41E94724B}" dt="2021-08-31T03:15:02.422" v="78"/>
          <ac:spMkLst>
            <pc:docMk/>
            <pc:sldMk cId="2640303264" sldId="2162"/>
            <ac:spMk id="16" creationId="{6C2BB713-9637-4B9B-938F-E9768876782A}"/>
          </ac:spMkLst>
        </pc:spChg>
      </pc:sldChg>
    </pc:docChg>
  </pc:docChgLst>
  <pc:docChgLst>
    <pc:chgData name="Aurelien Domont" userId="6da7715ce44349b3" providerId="LiveId" clId="{9BCFF106-FA44-4B8C-9039-CBF6F3294BE7}"/>
    <pc:docChg chg="undo custSel addSld delSld modSld">
      <pc:chgData name="Aurelien Domont" userId="6da7715ce44349b3" providerId="LiveId" clId="{9BCFF106-FA44-4B8C-9039-CBF6F3294BE7}" dt="2021-08-27T01:26:02.409" v="346" actId="20577"/>
      <pc:docMkLst>
        <pc:docMk/>
      </pc:docMkLst>
      <pc:sldChg chg="delSp modSp mod">
        <pc:chgData name="Aurelien Domont" userId="6da7715ce44349b3" providerId="LiveId" clId="{9BCFF106-FA44-4B8C-9039-CBF6F3294BE7}" dt="2021-08-27T01:26:02.409" v="346" actId="20577"/>
        <pc:sldMkLst>
          <pc:docMk/>
          <pc:sldMk cId="3131901387" sldId="256"/>
        </pc:sldMkLst>
        <pc:spChg chg="mod">
          <ac:chgData name="Aurelien Domont" userId="6da7715ce44349b3" providerId="LiveId" clId="{9BCFF106-FA44-4B8C-9039-CBF6F3294BE7}" dt="2021-08-27T01:14:14.971" v="12" actId="20577"/>
          <ac:spMkLst>
            <pc:docMk/>
            <pc:sldMk cId="3131901387" sldId="256"/>
            <ac:spMk id="2" creationId="{5261080C-C60C-4746-B6B1-A9A4FFA86785}"/>
          </ac:spMkLst>
        </pc:spChg>
        <pc:spChg chg="mod">
          <ac:chgData name="Aurelien Domont" userId="6da7715ce44349b3" providerId="LiveId" clId="{9BCFF106-FA44-4B8C-9039-CBF6F3294BE7}" dt="2021-08-27T01:26:02.409" v="346" actId="20577"/>
          <ac:spMkLst>
            <pc:docMk/>
            <pc:sldMk cId="3131901387" sldId="256"/>
            <ac:spMk id="3" creationId="{D781CD62-85AB-400E-A66C-9594AAD807B4}"/>
          </ac:spMkLst>
        </pc:spChg>
        <pc:picChg chg="del">
          <ac:chgData name="Aurelien Domont" userId="6da7715ce44349b3" providerId="LiveId" clId="{9BCFF106-FA44-4B8C-9039-CBF6F3294BE7}" dt="2021-08-27T01:06:34.261" v="1" actId="478"/>
          <ac:picMkLst>
            <pc:docMk/>
            <pc:sldMk cId="3131901387" sldId="256"/>
            <ac:picMk id="14" creationId="{98D686EE-912C-4191-AF55-48A15C4C5EAE}"/>
          </ac:picMkLst>
        </pc:picChg>
      </pc:sldChg>
      <pc:sldChg chg="addSp delSp modSp mod">
        <pc:chgData name="Aurelien Domont" userId="6da7715ce44349b3" providerId="LiveId" clId="{9BCFF106-FA44-4B8C-9039-CBF6F3294BE7}" dt="2021-08-27T01:24:53.422" v="288" actId="20577"/>
        <pc:sldMkLst>
          <pc:docMk/>
          <pc:sldMk cId="1762358644" sldId="2135"/>
        </pc:sldMkLst>
        <pc:spChg chg="add mod">
          <ac:chgData name="Aurelien Domont" userId="6da7715ce44349b3" providerId="LiveId" clId="{9BCFF106-FA44-4B8C-9039-CBF6F3294BE7}" dt="2021-08-27T01:24:53.422" v="288" actId="20577"/>
          <ac:spMkLst>
            <pc:docMk/>
            <pc:sldMk cId="1762358644" sldId="2135"/>
            <ac:spMk id="3" creationId="{354CC573-61B1-49E0-840D-529396975FB2}"/>
          </ac:spMkLst>
        </pc:spChg>
        <pc:spChg chg="add mod">
          <ac:chgData name="Aurelien Domont" userId="6da7715ce44349b3" providerId="LiveId" clId="{9BCFF106-FA44-4B8C-9039-CBF6F3294BE7}" dt="2021-08-27T01:24:21.139" v="276" actId="404"/>
          <ac:spMkLst>
            <pc:docMk/>
            <pc:sldMk cId="1762358644" sldId="2135"/>
            <ac:spMk id="11" creationId="{A597398E-9964-4760-BE83-9913F2C81F8F}"/>
          </ac:spMkLst>
        </pc:spChg>
        <pc:spChg chg="add mod">
          <ac:chgData name="Aurelien Domont" userId="6da7715ce44349b3" providerId="LiveId" clId="{9BCFF106-FA44-4B8C-9039-CBF6F3294BE7}" dt="2021-08-27T01:24:00.637" v="255" actId="1037"/>
          <ac:spMkLst>
            <pc:docMk/>
            <pc:sldMk cId="1762358644" sldId="2135"/>
            <ac:spMk id="12" creationId="{72A5A317-CCEF-477B-BD7E-E93644D5F443}"/>
          </ac:spMkLst>
        </pc:spChg>
        <pc:spChg chg="add mod">
          <ac:chgData name="Aurelien Domont" userId="6da7715ce44349b3" providerId="LiveId" clId="{9BCFF106-FA44-4B8C-9039-CBF6F3294BE7}" dt="2021-08-27T01:24:21.139" v="276" actId="404"/>
          <ac:spMkLst>
            <pc:docMk/>
            <pc:sldMk cId="1762358644" sldId="2135"/>
            <ac:spMk id="14" creationId="{6F683B2C-4208-4DA2-A5A9-0F54B0DAE309}"/>
          </ac:spMkLst>
        </pc:spChg>
        <pc:spChg chg="add mod">
          <ac:chgData name="Aurelien Domont" userId="6da7715ce44349b3" providerId="LiveId" clId="{9BCFF106-FA44-4B8C-9039-CBF6F3294BE7}" dt="2021-08-27T01:24:00.637" v="255" actId="1037"/>
          <ac:spMkLst>
            <pc:docMk/>
            <pc:sldMk cId="1762358644" sldId="2135"/>
            <ac:spMk id="15" creationId="{E0728C11-3ABF-43D2-A256-CCB0E6C16922}"/>
          </ac:spMkLst>
        </pc:spChg>
        <pc:spChg chg="mod">
          <ac:chgData name="Aurelien Domont" userId="6da7715ce44349b3" providerId="LiveId" clId="{9BCFF106-FA44-4B8C-9039-CBF6F3294BE7}" dt="2021-08-27T01:19:05.542" v="25" actId="20577"/>
          <ac:spMkLst>
            <pc:docMk/>
            <pc:sldMk cId="1762358644" sldId="2135"/>
            <ac:spMk id="16" creationId="{6C2BB713-9637-4B9B-938F-E9768876782A}"/>
          </ac:spMkLst>
        </pc:spChg>
        <pc:spChg chg="add mod">
          <ac:chgData name="Aurelien Domont" userId="6da7715ce44349b3" providerId="LiveId" clId="{9BCFF106-FA44-4B8C-9039-CBF6F3294BE7}" dt="2021-08-27T01:24:21.139" v="276" actId="404"/>
          <ac:spMkLst>
            <pc:docMk/>
            <pc:sldMk cId="1762358644" sldId="2135"/>
            <ac:spMk id="17" creationId="{428E633A-A6A0-4F56-8F9A-73FB8A86AE93}"/>
          </ac:spMkLst>
        </pc:spChg>
        <pc:spChg chg="add mod">
          <ac:chgData name="Aurelien Domont" userId="6da7715ce44349b3" providerId="LiveId" clId="{9BCFF106-FA44-4B8C-9039-CBF6F3294BE7}" dt="2021-08-27T01:24:00.637" v="255" actId="1037"/>
          <ac:spMkLst>
            <pc:docMk/>
            <pc:sldMk cId="1762358644" sldId="2135"/>
            <ac:spMk id="18" creationId="{17E45525-5679-4837-B6D1-8BFA31BC8485}"/>
          </ac:spMkLst>
        </pc:spChg>
        <pc:spChg chg="add mod">
          <ac:chgData name="Aurelien Domont" userId="6da7715ce44349b3" providerId="LiveId" clId="{9BCFF106-FA44-4B8C-9039-CBF6F3294BE7}" dt="2021-08-27T01:24:21.139" v="276" actId="404"/>
          <ac:spMkLst>
            <pc:docMk/>
            <pc:sldMk cId="1762358644" sldId="2135"/>
            <ac:spMk id="19" creationId="{A478F9CB-73E3-462B-836A-F8144A3609D7}"/>
          </ac:spMkLst>
        </pc:spChg>
        <pc:spChg chg="add mod">
          <ac:chgData name="Aurelien Domont" userId="6da7715ce44349b3" providerId="LiveId" clId="{9BCFF106-FA44-4B8C-9039-CBF6F3294BE7}" dt="2021-08-27T01:24:00.637" v="255" actId="1037"/>
          <ac:spMkLst>
            <pc:docMk/>
            <pc:sldMk cId="1762358644" sldId="2135"/>
            <ac:spMk id="20" creationId="{9D040486-FC04-4F02-8EFC-3633F4DC8C01}"/>
          </ac:spMkLst>
        </pc:spChg>
        <pc:spChg chg="add mod">
          <ac:chgData name="Aurelien Domont" userId="6da7715ce44349b3" providerId="LiveId" clId="{9BCFF106-FA44-4B8C-9039-CBF6F3294BE7}" dt="2021-08-27T01:24:21.139" v="276" actId="404"/>
          <ac:spMkLst>
            <pc:docMk/>
            <pc:sldMk cId="1762358644" sldId="2135"/>
            <ac:spMk id="22" creationId="{0DDF831D-1EB0-4DC1-9020-DF869F5ADC99}"/>
          </ac:spMkLst>
        </pc:spChg>
        <pc:spChg chg="del">
          <ac:chgData name="Aurelien Domont" userId="6da7715ce44349b3" providerId="LiveId" clId="{9BCFF106-FA44-4B8C-9039-CBF6F3294BE7}" dt="2021-08-27T01:19:08.484" v="26" actId="478"/>
          <ac:spMkLst>
            <pc:docMk/>
            <pc:sldMk cId="1762358644" sldId="2135"/>
            <ac:spMk id="23" creationId="{07BEC4FA-0A2A-4CDF-B426-03AD9EB2040B}"/>
          </ac:spMkLst>
        </pc:spChg>
        <pc:spChg chg="del">
          <ac:chgData name="Aurelien Domont" userId="6da7715ce44349b3" providerId="LiveId" clId="{9BCFF106-FA44-4B8C-9039-CBF6F3294BE7}" dt="2021-08-27T01:19:08.484" v="26" actId="478"/>
          <ac:spMkLst>
            <pc:docMk/>
            <pc:sldMk cId="1762358644" sldId="2135"/>
            <ac:spMk id="24" creationId="{F5859E7B-44B6-43F1-BCFE-77CAB8739B62}"/>
          </ac:spMkLst>
        </pc:spChg>
        <pc:spChg chg="add mod">
          <ac:chgData name="Aurelien Domont" userId="6da7715ce44349b3" providerId="LiveId" clId="{9BCFF106-FA44-4B8C-9039-CBF6F3294BE7}" dt="2021-08-27T01:24:00.637" v="255" actId="1037"/>
          <ac:spMkLst>
            <pc:docMk/>
            <pc:sldMk cId="1762358644" sldId="2135"/>
            <ac:spMk id="25" creationId="{CFE1FE9C-2E84-4EBD-B9A3-7B0776C7743E}"/>
          </ac:spMkLst>
        </pc:spChg>
        <pc:spChg chg="del">
          <ac:chgData name="Aurelien Domont" userId="6da7715ce44349b3" providerId="LiveId" clId="{9BCFF106-FA44-4B8C-9039-CBF6F3294BE7}" dt="2021-08-27T01:19:08.484" v="26" actId="478"/>
          <ac:spMkLst>
            <pc:docMk/>
            <pc:sldMk cId="1762358644" sldId="2135"/>
            <ac:spMk id="26" creationId="{1C8284B9-7B71-4320-AF12-6F5AA104E0BC}"/>
          </ac:spMkLst>
        </pc:spChg>
        <pc:spChg chg="add mod">
          <ac:chgData name="Aurelien Domont" userId="6da7715ce44349b3" providerId="LiveId" clId="{9BCFF106-FA44-4B8C-9039-CBF6F3294BE7}" dt="2021-08-27T01:22:43.489" v="203" actId="571"/>
          <ac:spMkLst>
            <pc:docMk/>
            <pc:sldMk cId="1762358644" sldId="2135"/>
            <ac:spMk id="28" creationId="{26C6B5F1-7374-419E-B3BF-98B32B036459}"/>
          </ac:spMkLst>
        </pc:spChg>
        <pc:picChg chg="del">
          <ac:chgData name="Aurelien Domont" userId="6da7715ce44349b3" providerId="LiveId" clId="{9BCFF106-FA44-4B8C-9039-CBF6F3294BE7}" dt="2021-08-27T01:19:08.484" v="26" actId="478"/>
          <ac:picMkLst>
            <pc:docMk/>
            <pc:sldMk cId="1762358644" sldId="2135"/>
            <ac:picMk id="21" creationId="{1E033823-926C-4034-BCF2-12F6F6E58054}"/>
          </ac:picMkLst>
        </pc:picChg>
        <pc:picChg chg="del">
          <ac:chgData name="Aurelien Domont" userId="6da7715ce44349b3" providerId="LiveId" clId="{9BCFF106-FA44-4B8C-9039-CBF6F3294BE7}" dt="2021-08-27T01:19:08.484" v="26" actId="478"/>
          <ac:picMkLst>
            <pc:docMk/>
            <pc:sldMk cId="1762358644" sldId="2135"/>
            <ac:picMk id="27" creationId="{2E562CF7-8224-4F96-A05F-F32CC79D98DE}"/>
          </ac:picMkLst>
        </pc:picChg>
      </pc:sldChg>
      <pc:sldChg chg="del">
        <pc:chgData name="Aurelien Domont" userId="6da7715ce44349b3" providerId="LiveId" clId="{9BCFF106-FA44-4B8C-9039-CBF6F3294BE7}" dt="2021-08-27T01:06:22.359" v="0" actId="47"/>
        <pc:sldMkLst>
          <pc:docMk/>
          <pc:sldMk cId="1877474728" sldId="2147"/>
        </pc:sldMkLst>
      </pc:sldChg>
      <pc:sldChg chg="del">
        <pc:chgData name="Aurelien Domont" userId="6da7715ce44349b3" providerId="LiveId" clId="{9BCFF106-FA44-4B8C-9039-CBF6F3294BE7}" dt="2021-08-27T01:06:22.359" v="0" actId="47"/>
        <pc:sldMkLst>
          <pc:docMk/>
          <pc:sldMk cId="2746892466" sldId="2148"/>
        </pc:sldMkLst>
      </pc:sldChg>
      <pc:sldChg chg="del">
        <pc:chgData name="Aurelien Domont" userId="6da7715ce44349b3" providerId="LiveId" clId="{9BCFF106-FA44-4B8C-9039-CBF6F3294BE7}" dt="2021-08-27T01:06:22.359" v="0" actId="47"/>
        <pc:sldMkLst>
          <pc:docMk/>
          <pc:sldMk cId="596178860" sldId="2149"/>
        </pc:sldMkLst>
      </pc:sldChg>
      <pc:sldChg chg="add">
        <pc:chgData name="Aurelien Domont" userId="6da7715ce44349b3" providerId="LiveId" clId="{9BCFF106-FA44-4B8C-9039-CBF6F3294BE7}" dt="2021-08-27T01:19:02.111" v="13"/>
        <pc:sldMkLst>
          <pc:docMk/>
          <pc:sldMk cId="159796775" sldId="2155"/>
        </pc:sldMkLst>
      </pc:sldChg>
    </pc:docChg>
  </pc:docChgLst>
  <pc:docChgLst>
    <pc:chgData name="Aurelien Domont" userId="6da7715ce44349b3" providerId="LiveId" clId="{4042D0DE-C18A-404C-979C-2EB16210EEA2}"/>
    <pc:docChg chg="modSld">
      <pc:chgData name="Aurelien Domont" userId="6da7715ce44349b3" providerId="LiveId" clId="{4042D0DE-C18A-404C-979C-2EB16210EEA2}" dt="2021-08-27T01:27:18.642" v="0"/>
      <pc:docMkLst>
        <pc:docMk/>
      </pc:docMkLst>
      <pc:sldChg chg="modSp mod">
        <pc:chgData name="Aurelien Domont" userId="6da7715ce44349b3" providerId="LiveId" clId="{4042D0DE-C18A-404C-979C-2EB16210EEA2}" dt="2021-08-27T01:27:18.642" v="0"/>
        <pc:sldMkLst>
          <pc:docMk/>
          <pc:sldMk cId="3131901387" sldId="256"/>
        </pc:sldMkLst>
        <pc:spChg chg="mod">
          <ac:chgData name="Aurelien Domont" userId="6da7715ce44349b3" providerId="LiveId" clId="{4042D0DE-C18A-404C-979C-2EB16210EEA2}" dt="2021-08-27T01:27:18.642" v="0"/>
          <ac:spMkLst>
            <pc:docMk/>
            <pc:sldMk cId="3131901387" sldId="256"/>
            <ac:spMk id="2" creationId="{5261080C-C60C-4746-B6B1-A9A4FFA86785}"/>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2/2/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2/2/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a:t>
            </a:fld>
            <a:endParaRPr lang="en-US" dirty="0"/>
          </a:p>
        </p:txBody>
      </p:sp>
    </p:spTree>
    <p:extLst>
      <p:ext uri="{BB962C8B-B14F-4D97-AF65-F5344CB8AC3E}">
        <p14:creationId xmlns:p14="http://schemas.microsoft.com/office/powerpoint/2010/main" val="42841422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2</a:t>
            </a:fld>
            <a:endParaRPr lang="en-US" dirty="0"/>
          </a:p>
        </p:txBody>
      </p:sp>
    </p:spTree>
    <p:extLst>
      <p:ext uri="{BB962C8B-B14F-4D97-AF65-F5344CB8AC3E}">
        <p14:creationId xmlns:p14="http://schemas.microsoft.com/office/powerpoint/2010/main" val="6266978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3</a:t>
            </a:fld>
            <a:endParaRPr lang="en-US" dirty="0"/>
          </a:p>
        </p:txBody>
      </p:sp>
    </p:spTree>
    <p:extLst>
      <p:ext uri="{BB962C8B-B14F-4D97-AF65-F5344CB8AC3E}">
        <p14:creationId xmlns:p14="http://schemas.microsoft.com/office/powerpoint/2010/main" val="30289602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4</a:t>
            </a:fld>
            <a:endParaRPr lang="en-US" dirty="0"/>
          </a:p>
        </p:txBody>
      </p:sp>
    </p:spTree>
    <p:extLst>
      <p:ext uri="{BB962C8B-B14F-4D97-AF65-F5344CB8AC3E}">
        <p14:creationId xmlns:p14="http://schemas.microsoft.com/office/powerpoint/2010/main" val="39592630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5</a:t>
            </a:fld>
            <a:endParaRPr lang="en-US" dirty="0"/>
          </a:p>
        </p:txBody>
      </p:sp>
    </p:spTree>
    <p:extLst>
      <p:ext uri="{BB962C8B-B14F-4D97-AF65-F5344CB8AC3E}">
        <p14:creationId xmlns:p14="http://schemas.microsoft.com/office/powerpoint/2010/main" val="28159125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6</a:t>
            </a:fld>
            <a:endParaRPr lang="en-US" dirty="0"/>
          </a:p>
        </p:txBody>
      </p:sp>
    </p:spTree>
    <p:extLst>
      <p:ext uri="{BB962C8B-B14F-4D97-AF65-F5344CB8AC3E}">
        <p14:creationId xmlns:p14="http://schemas.microsoft.com/office/powerpoint/2010/main" val="11475001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7</a:t>
            </a:fld>
            <a:endParaRPr lang="en-US" dirty="0"/>
          </a:p>
        </p:txBody>
      </p:sp>
    </p:spTree>
    <p:extLst>
      <p:ext uri="{BB962C8B-B14F-4D97-AF65-F5344CB8AC3E}">
        <p14:creationId xmlns:p14="http://schemas.microsoft.com/office/powerpoint/2010/main" val="18440258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8</a:t>
            </a:fld>
            <a:endParaRPr lang="en-US" dirty="0"/>
          </a:p>
        </p:txBody>
      </p:sp>
    </p:spTree>
    <p:extLst>
      <p:ext uri="{BB962C8B-B14F-4D97-AF65-F5344CB8AC3E}">
        <p14:creationId xmlns:p14="http://schemas.microsoft.com/office/powerpoint/2010/main" val="23353247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9</a:t>
            </a:fld>
            <a:endParaRPr lang="en-US" dirty="0"/>
          </a:p>
        </p:txBody>
      </p:sp>
    </p:spTree>
    <p:extLst>
      <p:ext uri="{BB962C8B-B14F-4D97-AF65-F5344CB8AC3E}">
        <p14:creationId xmlns:p14="http://schemas.microsoft.com/office/powerpoint/2010/main" val="6732697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userDrawn="1">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userDrawn="1">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3110843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IN" smtClean="0"/>
              <a:pPr/>
              <a:t>‹#›</a:t>
            </a:fld>
            <a:endParaRPr lang="en-IN" dirty="0"/>
          </a:p>
        </p:txBody>
      </p:sp>
    </p:spTree>
    <p:extLst>
      <p:ext uri="{BB962C8B-B14F-4D97-AF65-F5344CB8AC3E}">
        <p14:creationId xmlns:p14="http://schemas.microsoft.com/office/powerpoint/2010/main" val="17876765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userDrawn="1">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6"/>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userDrawn="1">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66" r:id="rId4"/>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3.xml"/><Relationship Id="rId7" Type="http://schemas.openxmlformats.org/officeDocument/2006/relationships/hyperlink" Target="https://www.domontconsulting.com/" TargetMode="Externa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9.xml"/><Relationship Id="rId9" Type="http://schemas.openxmlformats.org/officeDocument/2006/relationships/hyperlink" Target="http://www.domontconsulting.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1"/>
            </p:custDataLst>
            <p:extLst>
              <p:ext uri="{D42A27DB-BD31-4B8C-83A1-F6EECF244321}">
                <p14:modId xmlns:p14="http://schemas.microsoft.com/office/powerpoint/2010/main" val="3542856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1" name="Object 10" hidden="1">
                        <a:extLst>
                          <a:ext uri="{FF2B5EF4-FFF2-40B4-BE49-F238E27FC236}">
                            <a16:creationId xmlns:a16="http://schemas.microsoft.com/office/drawing/2014/main" id="{A1A0FD28-B360-4C9C-A1CC-D67C30C868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C222716-69D1-4221-B418-044978CCFED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a:xfrm>
            <a:off x="502540" y="810229"/>
            <a:ext cx="11384659" cy="1967160"/>
          </a:xfrm>
        </p:spPr>
        <p:txBody>
          <a:bodyPr>
            <a:normAutofit/>
          </a:bodyPr>
          <a:lstStyle/>
          <a:p>
            <a:pPr>
              <a:defRPr/>
            </a:pPr>
            <a:r>
              <a:rPr lang="en-US" sz="5400"/>
              <a:t>Precedent Transaction Analysis</a:t>
            </a:r>
            <a:endParaRPr lang="en-US" sz="5400" dirty="0"/>
          </a:p>
        </p:txBody>
      </p:sp>
      <p:sp>
        <p:nvSpPr>
          <p:cNvPr id="3" name="Text Placeholder 2">
            <a:extLst>
              <a:ext uri="{FF2B5EF4-FFF2-40B4-BE49-F238E27FC236}">
                <a16:creationId xmlns:a16="http://schemas.microsoft.com/office/drawing/2014/main" id="{D781CD62-85AB-400E-A66C-9594AAD807B4}"/>
              </a:ext>
            </a:extLst>
          </p:cNvPr>
          <p:cNvSpPr>
            <a:spLocks noGrp="1"/>
          </p:cNvSpPr>
          <p:nvPr>
            <p:ph type="body" sz="quarter" idx="11"/>
          </p:nvPr>
        </p:nvSpPr>
        <p:spPr>
          <a:xfrm>
            <a:off x="503240" y="3280961"/>
            <a:ext cx="5105080" cy="553998"/>
          </a:xfrm>
        </p:spPr>
        <p:txBody>
          <a:bodyPr wrap="square" lIns="0" tIns="0" rIns="0" bIns="0">
            <a:spAutoFit/>
          </a:bodyPr>
          <a:lstStyle/>
          <a:p>
            <a:pPr>
              <a:defRPr/>
            </a:pPr>
            <a:r>
              <a:rPr lang="en-US" sz="2000" b="1" dirty="0"/>
              <a:t>By Ex-Deloitte Management Consultants and Investment Bankers</a:t>
            </a:r>
          </a:p>
        </p:txBody>
      </p:sp>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20409" y="266480"/>
              <a:ext cx="702416" cy="18083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Confidential</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pic>
        <p:nvPicPr>
          <p:cNvPr id="15" name="Picture 14">
            <a:extLst>
              <a:ext uri="{FF2B5EF4-FFF2-40B4-BE49-F238E27FC236}">
                <a16:creationId xmlns:a16="http://schemas.microsoft.com/office/drawing/2014/main" id="{866A5935-107E-4C07-BF3D-A731E2697FED}"/>
              </a:ext>
            </a:extLst>
          </p:cNvPr>
          <p:cNvPicPr>
            <a:picLocks noChangeAspect="1"/>
          </p:cNvPicPr>
          <p:nvPr/>
        </p:nvPicPr>
        <p:blipFill>
          <a:blip r:embed="rId7"/>
          <a:stretch>
            <a:fillRect/>
          </a:stretch>
        </p:blipFill>
        <p:spPr>
          <a:xfrm>
            <a:off x="6727723" y="3497826"/>
            <a:ext cx="4982330" cy="28956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1319013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3944024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Precedent transaction Analysis Definition</a:t>
            </a:r>
            <a:endParaRPr lang="en-US" sz="2000" b="0" kern="0" dirty="0">
              <a:solidFill>
                <a:schemeClr val="tx2">
                  <a:lumMod val="60000"/>
                  <a:lumOff val="40000"/>
                </a:schemeClr>
              </a:solidFill>
            </a:endParaRP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a:t>
            </a:fld>
            <a:endParaRPr lang="en-US" sz="1000" dirty="0">
              <a:solidFill>
                <a:srgbClr val="ADAFBB"/>
              </a:solidFill>
            </a:endParaRPr>
          </a:p>
        </p:txBody>
      </p:sp>
      <p:grpSp>
        <p:nvGrpSpPr>
          <p:cNvPr id="21" name="Group 20">
            <a:extLst>
              <a:ext uri="{FF2B5EF4-FFF2-40B4-BE49-F238E27FC236}">
                <a16:creationId xmlns:a16="http://schemas.microsoft.com/office/drawing/2014/main" id="{BFDBD0B1-6099-4A1A-980D-F772617F4686}"/>
              </a:ext>
            </a:extLst>
          </p:cNvPr>
          <p:cNvGrpSpPr/>
          <p:nvPr/>
        </p:nvGrpSpPr>
        <p:grpSpPr>
          <a:xfrm rot="520182">
            <a:off x="6343151" y="2328813"/>
            <a:ext cx="3555331" cy="3548714"/>
            <a:chOff x="965211" y="3048000"/>
            <a:chExt cx="1276350" cy="1293812"/>
          </a:xfrm>
        </p:grpSpPr>
        <p:sp>
          <p:nvSpPr>
            <p:cNvPr id="23" name="Freeform 5">
              <a:extLst>
                <a:ext uri="{FF2B5EF4-FFF2-40B4-BE49-F238E27FC236}">
                  <a16:creationId xmlns:a16="http://schemas.microsoft.com/office/drawing/2014/main" id="{6E9DA8A1-6D78-476B-82F7-AF479DAAF766}"/>
                </a:ext>
              </a:extLst>
            </p:cNvPr>
            <p:cNvSpPr/>
            <p:nvPr/>
          </p:nvSpPr>
          <p:spPr bwMode="auto">
            <a:xfrm>
              <a:off x="965211" y="3073400"/>
              <a:ext cx="1255712" cy="1268412"/>
            </a:xfrm>
            <a:custGeom>
              <a:avLst/>
              <a:gdLst>
                <a:gd name="connsiteX0" fmla="*/ 0 w 1850051"/>
                <a:gd name="connsiteY0" fmla="*/ 200014 h 1870136"/>
                <a:gd name="connsiteX1" fmla="*/ 180005 w 1850051"/>
                <a:gd name="connsiteY1" fmla="*/ 1870136 h 1870136"/>
                <a:gd name="connsiteX2" fmla="*/ 1850051 w 1850051"/>
                <a:gd name="connsiteY2" fmla="*/ 1530111 h 1870136"/>
                <a:gd name="connsiteX3" fmla="*/ 1470040 w 1850051"/>
                <a:gd name="connsiteY3" fmla="*/ 0 h 1870136"/>
                <a:gd name="connsiteX4" fmla="*/ 0 w 1850051"/>
                <a:gd name="connsiteY4" fmla="*/ 200014 h 1870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0051" h="1870136">
                  <a:moveTo>
                    <a:pt x="0" y="200014"/>
                  </a:moveTo>
                  <a:lnTo>
                    <a:pt x="180005" y="1870136"/>
                  </a:lnTo>
                  <a:lnTo>
                    <a:pt x="1850051" y="1530111"/>
                  </a:lnTo>
                  <a:lnTo>
                    <a:pt x="1470040" y="0"/>
                  </a:lnTo>
                  <a:lnTo>
                    <a:pt x="0" y="200014"/>
                  </a:lnTo>
                  <a:close/>
                </a:path>
              </a:pathLst>
            </a:custGeom>
            <a:gradFill flip="none" rotWithShape="1">
              <a:gsLst>
                <a:gs pos="51000">
                  <a:schemeClr val="bg1">
                    <a:lumMod val="65000"/>
                  </a:schemeClr>
                </a:gs>
                <a:gs pos="100000">
                  <a:srgbClr val="FFFFFF">
                    <a:alpha val="0"/>
                  </a:srgb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en-US" dirty="0">
                <a:solidFill>
                  <a:srgbClr val="FFFFFF"/>
                </a:solidFill>
                <a:ea typeface="ＭＳ Ｐゴシック" pitchFamily="-105" charset="-128"/>
              </a:endParaRPr>
            </a:p>
          </p:txBody>
        </p:sp>
        <p:sp>
          <p:nvSpPr>
            <p:cNvPr id="24" name="Freeform 20">
              <a:extLst>
                <a:ext uri="{FF2B5EF4-FFF2-40B4-BE49-F238E27FC236}">
                  <a16:creationId xmlns:a16="http://schemas.microsoft.com/office/drawing/2014/main" id="{3BC0DE56-73CC-46BE-9FBA-6DA815B15DFC}"/>
                </a:ext>
              </a:extLst>
            </p:cNvPr>
            <p:cNvSpPr/>
            <p:nvPr/>
          </p:nvSpPr>
          <p:spPr bwMode="auto">
            <a:xfrm>
              <a:off x="965211" y="3048000"/>
              <a:ext cx="1276350" cy="1233487"/>
            </a:xfrm>
            <a:custGeom>
              <a:avLst/>
              <a:gdLst>
                <a:gd name="connsiteX0" fmla="*/ 248340 w 2131726"/>
                <a:gd name="connsiteY0" fmla="*/ 218350 h 1830134"/>
                <a:gd name="connsiteX1" fmla="*/ 1808383 w 2131726"/>
                <a:gd name="connsiteY1" fmla="*/ 18335 h 1830134"/>
                <a:gd name="connsiteX2" fmla="*/ 1828384 w 2131726"/>
                <a:gd name="connsiteY2" fmla="*/ 108342 h 1830134"/>
                <a:gd name="connsiteX3" fmla="*/ 1898385 w 2131726"/>
                <a:gd name="connsiteY3" fmla="*/ 598377 h 1830134"/>
                <a:gd name="connsiteX4" fmla="*/ 1998388 w 2131726"/>
                <a:gd name="connsiteY4" fmla="*/ 1118415 h 1830134"/>
                <a:gd name="connsiteX5" fmla="*/ 2128392 w 2131726"/>
                <a:gd name="connsiteY5" fmla="*/ 1578449 h 1830134"/>
                <a:gd name="connsiteX6" fmla="*/ 2018389 w 2131726"/>
                <a:gd name="connsiteY6" fmla="*/ 1608451 h 1830134"/>
                <a:gd name="connsiteX7" fmla="*/ 1568376 w 2131726"/>
                <a:gd name="connsiteY7" fmla="*/ 1678456 h 1830134"/>
                <a:gd name="connsiteX8" fmla="*/ 618351 w 2131726"/>
                <a:gd name="connsiteY8" fmla="*/ 1818466 h 1830134"/>
                <a:gd name="connsiteX9" fmla="*/ 488347 w 2131726"/>
                <a:gd name="connsiteY9" fmla="*/ 1608451 h 1830134"/>
                <a:gd name="connsiteX10" fmla="*/ 408345 w 2131726"/>
                <a:gd name="connsiteY10" fmla="*/ 1158418 h 1830134"/>
                <a:gd name="connsiteX11" fmla="*/ 318342 w 2131726"/>
                <a:gd name="connsiteY11" fmla="*/ 578376 h 1830134"/>
                <a:gd name="connsiteX12" fmla="*/ 248340 w 2131726"/>
                <a:gd name="connsiteY12" fmla="*/ 218350 h 1830134"/>
                <a:gd name="connsiteX0" fmla="*/ 0 w 1883386"/>
                <a:gd name="connsiteY0" fmla="*/ 218350 h 1830134"/>
                <a:gd name="connsiteX1" fmla="*/ 1560043 w 1883386"/>
                <a:gd name="connsiteY1" fmla="*/ 18335 h 1830134"/>
                <a:gd name="connsiteX2" fmla="*/ 1580044 w 1883386"/>
                <a:gd name="connsiteY2" fmla="*/ 108342 h 1830134"/>
                <a:gd name="connsiteX3" fmla="*/ 1650045 w 1883386"/>
                <a:gd name="connsiteY3" fmla="*/ 598377 h 1830134"/>
                <a:gd name="connsiteX4" fmla="*/ 1750048 w 1883386"/>
                <a:gd name="connsiteY4" fmla="*/ 1118415 h 1830134"/>
                <a:gd name="connsiteX5" fmla="*/ 1880052 w 1883386"/>
                <a:gd name="connsiteY5" fmla="*/ 1578449 h 1830134"/>
                <a:gd name="connsiteX6" fmla="*/ 1770049 w 1883386"/>
                <a:gd name="connsiteY6" fmla="*/ 1608451 h 1830134"/>
                <a:gd name="connsiteX7" fmla="*/ 1320036 w 1883386"/>
                <a:gd name="connsiteY7" fmla="*/ 1678456 h 1830134"/>
                <a:gd name="connsiteX8" fmla="*/ 370011 w 1883386"/>
                <a:gd name="connsiteY8" fmla="*/ 1818466 h 1830134"/>
                <a:gd name="connsiteX9" fmla="*/ 240007 w 1883386"/>
                <a:gd name="connsiteY9" fmla="*/ 1608451 h 1830134"/>
                <a:gd name="connsiteX10" fmla="*/ 160005 w 1883386"/>
                <a:gd name="connsiteY10" fmla="*/ 1158418 h 1830134"/>
                <a:gd name="connsiteX11" fmla="*/ 70002 w 1883386"/>
                <a:gd name="connsiteY11" fmla="*/ 578376 h 1830134"/>
                <a:gd name="connsiteX12" fmla="*/ 0 w 1883386"/>
                <a:gd name="connsiteY12" fmla="*/ 218350 h 1830134"/>
                <a:gd name="connsiteX0" fmla="*/ 0 w 1883386"/>
                <a:gd name="connsiteY0" fmla="*/ 206682 h 1818466"/>
                <a:gd name="connsiteX1" fmla="*/ 1560043 w 1883386"/>
                <a:gd name="connsiteY1" fmla="*/ 6667 h 1818466"/>
                <a:gd name="connsiteX2" fmla="*/ 1580044 w 1883386"/>
                <a:gd name="connsiteY2" fmla="*/ 96674 h 1818466"/>
                <a:gd name="connsiteX3" fmla="*/ 1650045 w 1883386"/>
                <a:gd name="connsiteY3" fmla="*/ 586709 h 1818466"/>
                <a:gd name="connsiteX4" fmla="*/ 1750048 w 1883386"/>
                <a:gd name="connsiteY4" fmla="*/ 1106747 h 1818466"/>
                <a:gd name="connsiteX5" fmla="*/ 1880052 w 1883386"/>
                <a:gd name="connsiteY5" fmla="*/ 1566781 h 1818466"/>
                <a:gd name="connsiteX6" fmla="*/ 1770049 w 1883386"/>
                <a:gd name="connsiteY6" fmla="*/ 1596783 h 1818466"/>
                <a:gd name="connsiteX7" fmla="*/ 1320036 w 1883386"/>
                <a:gd name="connsiteY7" fmla="*/ 1666788 h 1818466"/>
                <a:gd name="connsiteX8" fmla="*/ 370011 w 1883386"/>
                <a:gd name="connsiteY8" fmla="*/ 1806798 h 1818466"/>
                <a:gd name="connsiteX9" fmla="*/ 240007 w 1883386"/>
                <a:gd name="connsiteY9" fmla="*/ 1596783 h 1818466"/>
                <a:gd name="connsiteX10" fmla="*/ 160005 w 1883386"/>
                <a:gd name="connsiteY10" fmla="*/ 1146750 h 1818466"/>
                <a:gd name="connsiteX11" fmla="*/ 70002 w 1883386"/>
                <a:gd name="connsiteY11" fmla="*/ 566708 h 1818466"/>
                <a:gd name="connsiteX12" fmla="*/ 0 w 1883386"/>
                <a:gd name="connsiteY12" fmla="*/ 206682 h 1818466"/>
                <a:gd name="connsiteX0" fmla="*/ 0 w 1880052"/>
                <a:gd name="connsiteY0" fmla="*/ 206682 h 1818466"/>
                <a:gd name="connsiteX1" fmla="*/ 1560043 w 1880052"/>
                <a:gd name="connsiteY1" fmla="*/ 6667 h 1818466"/>
                <a:gd name="connsiteX2" fmla="*/ 1580044 w 1880052"/>
                <a:gd name="connsiteY2" fmla="*/ 96674 h 1818466"/>
                <a:gd name="connsiteX3" fmla="*/ 1650045 w 1880052"/>
                <a:gd name="connsiteY3" fmla="*/ 586709 h 1818466"/>
                <a:gd name="connsiteX4" fmla="*/ 1750048 w 1880052"/>
                <a:gd name="connsiteY4" fmla="*/ 1106747 h 1818466"/>
                <a:gd name="connsiteX5" fmla="*/ 1880052 w 1880052"/>
                <a:gd name="connsiteY5" fmla="*/ 1566781 h 1818466"/>
                <a:gd name="connsiteX6" fmla="*/ 1770049 w 1880052"/>
                <a:gd name="connsiteY6" fmla="*/ 1596783 h 1818466"/>
                <a:gd name="connsiteX7" fmla="*/ 1320036 w 1880052"/>
                <a:gd name="connsiteY7" fmla="*/ 1666788 h 1818466"/>
                <a:gd name="connsiteX8" fmla="*/ 370011 w 1880052"/>
                <a:gd name="connsiteY8" fmla="*/ 1806798 h 1818466"/>
                <a:gd name="connsiteX9" fmla="*/ 240007 w 1880052"/>
                <a:gd name="connsiteY9" fmla="*/ 1596783 h 1818466"/>
                <a:gd name="connsiteX10" fmla="*/ 160005 w 1880052"/>
                <a:gd name="connsiteY10" fmla="*/ 1146750 h 1818466"/>
                <a:gd name="connsiteX11" fmla="*/ 70002 w 1880052"/>
                <a:gd name="connsiteY11" fmla="*/ 566708 h 1818466"/>
                <a:gd name="connsiteX12" fmla="*/ 0 w 1880052"/>
                <a:gd name="connsiteY12" fmla="*/ 206682 h 1818466"/>
                <a:gd name="connsiteX0" fmla="*/ 0 w 1880052"/>
                <a:gd name="connsiteY0" fmla="*/ 206682 h 1818466"/>
                <a:gd name="connsiteX1" fmla="*/ 1560043 w 1880052"/>
                <a:gd name="connsiteY1" fmla="*/ 6667 h 1818466"/>
                <a:gd name="connsiteX2" fmla="*/ 1580044 w 1880052"/>
                <a:gd name="connsiteY2" fmla="*/ 96674 h 1818466"/>
                <a:gd name="connsiteX3" fmla="*/ 1650045 w 1880052"/>
                <a:gd name="connsiteY3" fmla="*/ 586709 h 1818466"/>
                <a:gd name="connsiteX4" fmla="*/ 1750048 w 1880052"/>
                <a:gd name="connsiteY4" fmla="*/ 1106747 h 1818466"/>
                <a:gd name="connsiteX5" fmla="*/ 1880052 w 1880052"/>
                <a:gd name="connsiteY5" fmla="*/ 1566781 h 1818466"/>
                <a:gd name="connsiteX6" fmla="*/ 1770049 w 1880052"/>
                <a:gd name="connsiteY6" fmla="*/ 1596783 h 1818466"/>
                <a:gd name="connsiteX7" fmla="*/ 1320036 w 1880052"/>
                <a:gd name="connsiteY7" fmla="*/ 1666788 h 1818466"/>
                <a:gd name="connsiteX8" fmla="*/ 370011 w 1880052"/>
                <a:gd name="connsiteY8" fmla="*/ 1806798 h 1818466"/>
                <a:gd name="connsiteX9" fmla="*/ 240007 w 1880052"/>
                <a:gd name="connsiteY9" fmla="*/ 1596783 h 1818466"/>
                <a:gd name="connsiteX10" fmla="*/ 160005 w 1880052"/>
                <a:gd name="connsiteY10" fmla="*/ 1146750 h 1818466"/>
                <a:gd name="connsiteX11" fmla="*/ 70002 w 1880052"/>
                <a:gd name="connsiteY11" fmla="*/ 566708 h 1818466"/>
                <a:gd name="connsiteX12" fmla="*/ 0 w 1880052"/>
                <a:gd name="connsiteY12" fmla="*/ 206682 h 1818466"/>
                <a:gd name="connsiteX0" fmla="*/ 0 w 1880052"/>
                <a:gd name="connsiteY0" fmla="*/ 206682 h 1818466"/>
                <a:gd name="connsiteX1" fmla="*/ 1560043 w 1880052"/>
                <a:gd name="connsiteY1" fmla="*/ 6667 h 1818466"/>
                <a:gd name="connsiteX2" fmla="*/ 1580044 w 1880052"/>
                <a:gd name="connsiteY2" fmla="*/ 96674 h 1818466"/>
                <a:gd name="connsiteX3" fmla="*/ 1650045 w 1880052"/>
                <a:gd name="connsiteY3" fmla="*/ 586709 h 1818466"/>
                <a:gd name="connsiteX4" fmla="*/ 1750048 w 1880052"/>
                <a:gd name="connsiteY4" fmla="*/ 1106747 h 1818466"/>
                <a:gd name="connsiteX5" fmla="*/ 1880052 w 1880052"/>
                <a:gd name="connsiteY5" fmla="*/ 1566781 h 1818466"/>
                <a:gd name="connsiteX6" fmla="*/ 1770049 w 1880052"/>
                <a:gd name="connsiteY6" fmla="*/ 1596783 h 1818466"/>
                <a:gd name="connsiteX7" fmla="*/ 1320036 w 1880052"/>
                <a:gd name="connsiteY7" fmla="*/ 1666788 h 1818466"/>
                <a:gd name="connsiteX8" fmla="*/ 370011 w 1880052"/>
                <a:gd name="connsiteY8" fmla="*/ 1806798 h 1818466"/>
                <a:gd name="connsiteX9" fmla="*/ 240007 w 1880052"/>
                <a:gd name="connsiteY9" fmla="*/ 1596783 h 1818466"/>
                <a:gd name="connsiteX10" fmla="*/ 160005 w 1880052"/>
                <a:gd name="connsiteY10" fmla="*/ 1146750 h 1818466"/>
                <a:gd name="connsiteX11" fmla="*/ 70002 w 1880052"/>
                <a:gd name="connsiteY11" fmla="*/ 566708 h 1818466"/>
                <a:gd name="connsiteX12" fmla="*/ 0 w 1880052"/>
                <a:gd name="connsiteY12" fmla="*/ 206682 h 1818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80052" h="1818466">
                  <a:moveTo>
                    <a:pt x="0" y="206682"/>
                  </a:moveTo>
                  <a:cubicBezTo>
                    <a:pt x="248340" y="113342"/>
                    <a:pt x="1296702" y="25002"/>
                    <a:pt x="1560043" y="6667"/>
                  </a:cubicBezTo>
                  <a:cubicBezTo>
                    <a:pt x="1580043" y="86673"/>
                    <a:pt x="1565044" y="0"/>
                    <a:pt x="1580044" y="96674"/>
                  </a:cubicBezTo>
                  <a:cubicBezTo>
                    <a:pt x="1595044" y="193348"/>
                    <a:pt x="1621711" y="418363"/>
                    <a:pt x="1650045" y="586709"/>
                  </a:cubicBezTo>
                  <a:cubicBezTo>
                    <a:pt x="1678379" y="755055"/>
                    <a:pt x="1711714" y="943402"/>
                    <a:pt x="1750048" y="1106747"/>
                  </a:cubicBezTo>
                  <a:cubicBezTo>
                    <a:pt x="1788382" y="1270092"/>
                    <a:pt x="1876718" y="1485108"/>
                    <a:pt x="1880052" y="1566781"/>
                  </a:cubicBezTo>
                  <a:cubicBezTo>
                    <a:pt x="1830050" y="1576338"/>
                    <a:pt x="1863385" y="1580115"/>
                    <a:pt x="1770049" y="1596783"/>
                  </a:cubicBezTo>
                  <a:cubicBezTo>
                    <a:pt x="1676713" y="1613451"/>
                    <a:pt x="1320036" y="1666788"/>
                    <a:pt x="1320036" y="1666788"/>
                  </a:cubicBezTo>
                  <a:cubicBezTo>
                    <a:pt x="1086696" y="1701790"/>
                    <a:pt x="550016" y="1818466"/>
                    <a:pt x="370011" y="1806798"/>
                  </a:cubicBezTo>
                  <a:cubicBezTo>
                    <a:pt x="290113" y="1691790"/>
                    <a:pt x="275008" y="1706791"/>
                    <a:pt x="240007" y="1596783"/>
                  </a:cubicBezTo>
                  <a:cubicBezTo>
                    <a:pt x="205006" y="1486775"/>
                    <a:pt x="188339" y="1318429"/>
                    <a:pt x="160005" y="1146750"/>
                  </a:cubicBezTo>
                  <a:cubicBezTo>
                    <a:pt x="131671" y="975071"/>
                    <a:pt x="95003" y="723386"/>
                    <a:pt x="70002" y="566708"/>
                  </a:cubicBezTo>
                  <a:cubicBezTo>
                    <a:pt x="45001" y="410030"/>
                    <a:pt x="30001" y="389417"/>
                    <a:pt x="0" y="206682"/>
                  </a:cubicBezTo>
                  <a:close/>
                </a:path>
              </a:pathLst>
            </a:custGeom>
            <a:solidFill>
              <a:srgbClr val="E7EFF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en-US" dirty="0">
                <a:solidFill>
                  <a:srgbClr val="FFFFFF"/>
                </a:solidFill>
                <a:ea typeface="ＭＳ Ｐゴシック" pitchFamily="-105" charset="-128"/>
              </a:endParaRPr>
            </a:p>
          </p:txBody>
        </p:sp>
        <p:sp>
          <p:nvSpPr>
            <p:cNvPr id="26" name="TextBox 42">
              <a:extLst>
                <a:ext uri="{FF2B5EF4-FFF2-40B4-BE49-F238E27FC236}">
                  <a16:creationId xmlns:a16="http://schemas.microsoft.com/office/drawing/2014/main" id="{70F56CDE-16F1-40C6-A139-318E8F2481C9}"/>
                </a:ext>
              </a:extLst>
            </p:cNvPr>
            <p:cNvSpPr txBox="1">
              <a:spLocks noChangeArrowheads="1"/>
            </p:cNvSpPr>
            <p:nvPr/>
          </p:nvSpPr>
          <p:spPr bwMode="auto">
            <a:xfrm rot="21026375">
              <a:off x="1067377" y="3260208"/>
              <a:ext cx="1012030" cy="819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pitchFamily="-105" charset="-128"/>
                </a:defRPr>
              </a:lvl1pPr>
              <a:lvl2pPr marL="37931725" indent="-37474525" eaLnBrk="0" hangingPunct="0">
                <a:defRPr sz="2400">
                  <a:solidFill>
                    <a:schemeClr val="tx1"/>
                  </a:solidFill>
                  <a:latin typeface="Arial" charset="0"/>
                  <a:ea typeface="ＭＳ Ｐゴシック" pitchFamily="-105" charset="-128"/>
                </a:defRPr>
              </a:lvl2pPr>
              <a:lvl3pPr eaLnBrk="0" hangingPunct="0">
                <a:defRPr sz="2400">
                  <a:solidFill>
                    <a:schemeClr val="tx1"/>
                  </a:solidFill>
                  <a:latin typeface="Arial" charset="0"/>
                  <a:ea typeface="ＭＳ Ｐゴシック" pitchFamily="-105" charset="-128"/>
                </a:defRPr>
              </a:lvl3pPr>
              <a:lvl4pPr eaLnBrk="0" hangingPunct="0">
                <a:defRPr sz="2400">
                  <a:solidFill>
                    <a:schemeClr val="tx1"/>
                  </a:solidFill>
                  <a:latin typeface="Arial" charset="0"/>
                  <a:ea typeface="ＭＳ Ｐゴシック" pitchFamily="-105" charset="-128"/>
                </a:defRPr>
              </a:lvl4pPr>
              <a:lvl5pPr eaLnBrk="0" hangingPunct="0">
                <a:defRPr sz="2400">
                  <a:solidFill>
                    <a:schemeClr val="tx1"/>
                  </a:solidFill>
                  <a:latin typeface="Arial" charset="0"/>
                  <a:ea typeface="ＭＳ Ｐゴシック" pitchFamily="-105" charset="-128"/>
                </a:defRPr>
              </a:lvl5pPr>
              <a:lvl6pPr marL="457200" eaLnBrk="0" fontAlgn="base" hangingPunct="0">
                <a:spcBef>
                  <a:spcPct val="0"/>
                </a:spcBef>
                <a:spcAft>
                  <a:spcPct val="0"/>
                </a:spcAft>
                <a:defRPr sz="2400">
                  <a:solidFill>
                    <a:schemeClr val="tx1"/>
                  </a:solidFill>
                  <a:latin typeface="Arial" charset="0"/>
                  <a:ea typeface="ＭＳ Ｐゴシック" pitchFamily="-105" charset="-128"/>
                </a:defRPr>
              </a:lvl6pPr>
              <a:lvl7pPr marL="914400" eaLnBrk="0" fontAlgn="base" hangingPunct="0">
                <a:spcBef>
                  <a:spcPct val="0"/>
                </a:spcBef>
                <a:spcAft>
                  <a:spcPct val="0"/>
                </a:spcAft>
                <a:defRPr sz="2400">
                  <a:solidFill>
                    <a:schemeClr val="tx1"/>
                  </a:solidFill>
                  <a:latin typeface="Arial" charset="0"/>
                  <a:ea typeface="ＭＳ Ｐゴシック" pitchFamily="-105" charset="-128"/>
                </a:defRPr>
              </a:lvl7pPr>
              <a:lvl8pPr marL="1371600" eaLnBrk="0" fontAlgn="base" hangingPunct="0">
                <a:spcBef>
                  <a:spcPct val="0"/>
                </a:spcBef>
                <a:spcAft>
                  <a:spcPct val="0"/>
                </a:spcAft>
                <a:defRPr sz="2400">
                  <a:solidFill>
                    <a:schemeClr val="tx1"/>
                  </a:solidFill>
                  <a:latin typeface="Arial" charset="0"/>
                  <a:ea typeface="ＭＳ Ｐゴシック" pitchFamily="-105" charset="-128"/>
                </a:defRPr>
              </a:lvl8pPr>
              <a:lvl9pPr marL="1828800" eaLnBrk="0" fontAlgn="base" hangingPunct="0">
                <a:spcBef>
                  <a:spcPct val="0"/>
                </a:spcBef>
                <a:spcAft>
                  <a:spcPct val="0"/>
                </a:spcAft>
                <a:defRPr sz="2400">
                  <a:solidFill>
                    <a:schemeClr val="tx1"/>
                  </a:solidFill>
                  <a:latin typeface="Arial" charset="0"/>
                  <a:ea typeface="ＭＳ Ｐゴシック" pitchFamily="-105" charset="-128"/>
                </a:defRPr>
              </a:lvl9pPr>
            </a:lstStyle>
            <a:p>
              <a:pPr eaLnBrk="1" hangingPunct="1"/>
              <a:r>
                <a:rPr lang="en-US" sz="2000" b="1" dirty="0">
                  <a:solidFill>
                    <a:schemeClr val="tx2"/>
                  </a:solidFill>
                  <a:latin typeface="Calibri" charset="0"/>
                </a:rPr>
                <a:t>Commonly referred to as “precedents”, this method of valuation is often used to value an entire business as part of a merger or an acquisition.</a:t>
              </a:r>
            </a:p>
          </p:txBody>
        </p:sp>
      </p:grpSp>
      <p:grpSp>
        <p:nvGrpSpPr>
          <p:cNvPr id="27" name="Group 26">
            <a:extLst>
              <a:ext uri="{FF2B5EF4-FFF2-40B4-BE49-F238E27FC236}">
                <a16:creationId xmlns:a16="http://schemas.microsoft.com/office/drawing/2014/main" id="{6AEF950D-8ED2-48D8-9DB6-48F4DFC163BB}"/>
              </a:ext>
            </a:extLst>
          </p:cNvPr>
          <p:cNvGrpSpPr/>
          <p:nvPr/>
        </p:nvGrpSpPr>
        <p:grpSpPr>
          <a:xfrm>
            <a:off x="8074220" y="2136317"/>
            <a:ext cx="182881" cy="494764"/>
            <a:chOff x="3918273" y="5791200"/>
            <a:chExt cx="182881" cy="494764"/>
          </a:xfrm>
        </p:grpSpPr>
        <p:sp>
          <p:nvSpPr>
            <p:cNvPr id="28" name="Isosceles Triangle 27">
              <a:extLst>
                <a:ext uri="{FF2B5EF4-FFF2-40B4-BE49-F238E27FC236}">
                  <a16:creationId xmlns:a16="http://schemas.microsoft.com/office/drawing/2014/main" id="{8364D770-E18E-41B7-A036-DEC1C380D55C}"/>
                </a:ext>
              </a:extLst>
            </p:cNvPr>
            <p:cNvSpPr/>
            <p:nvPr/>
          </p:nvSpPr>
          <p:spPr bwMode="auto">
            <a:xfrm rot="11821990">
              <a:off x="3927362" y="5961126"/>
              <a:ext cx="35567" cy="324838"/>
            </a:xfrm>
            <a:prstGeom prst="triangl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0" scaled="1"/>
              <a:tileRect/>
            </a:gra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9" name="Oval 28">
              <a:extLst>
                <a:ext uri="{FF2B5EF4-FFF2-40B4-BE49-F238E27FC236}">
                  <a16:creationId xmlns:a16="http://schemas.microsoft.com/office/drawing/2014/main" id="{551906A5-064C-4EAF-BA54-E9047BAF5CE2}"/>
                </a:ext>
              </a:extLst>
            </p:cNvPr>
            <p:cNvSpPr/>
            <p:nvPr/>
          </p:nvSpPr>
          <p:spPr bwMode="auto">
            <a:xfrm>
              <a:off x="3918273" y="5791200"/>
              <a:ext cx="182881" cy="182881"/>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grpSp>
        <p:nvGrpSpPr>
          <p:cNvPr id="30" name="Group 29">
            <a:extLst>
              <a:ext uri="{FF2B5EF4-FFF2-40B4-BE49-F238E27FC236}">
                <a16:creationId xmlns:a16="http://schemas.microsoft.com/office/drawing/2014/main" id="{FC0F4A9E-1F24-411E-9BC2-427C7242AD62}"/>
              </a:ext>
            </a:extLst>
          </p:cNvPr>
          <p:cNvGrpSpPr/>
          <p:nvPr/>
        </p:nvGrpSpPr>
        <p:grpSpPr>
          <a:xfrm rot="520182">
            <a:off x="2009244" y="2211634"/>
            <a:ext cx="3555331" cy="3548713"/>
            <a:chOff x="965211" y="3048000"/>
            <a:chExt cx="1276350" cy="1293812"/>
          </a:xfrm>
        </p:grpSpPr>
        <p:sp>
          <p:nvSpPr>
            <p:cNvPr id="31" name="Freeform 5">
              <a:extLst>
                <a:ext uri="{FF2B5EF4-FFF2-40B4-BE49-F238E27FC236}">
                  <a16:creationId xmlns:a16="http://schemas.microsoft.com/office/drawing/2014/main" id="{46169E6B-3B1C-489C-A361-632E8B3EE31E}"/>
                </a:ext>
              </a:extLst>
            </p:cNvPr>
            <p:cNvSpPr/>
            <p:nvPr/>
          </p:nvSpPr>
          <p:spPr bwMode="auto">
            <a:xfrm>
              <a:off x="965211" y="3073400"/>
              <a:ext cx="1255712" cy="1268412"/>
            </a:xfrm>
            <a:custGeom>
              <a:avLst/>
              <a:gdLst>
                <a:gd name="connsiteX0" fmla="*/ 0 w 1850051"/>
                <a:gd name="connsiteY0" fmla="*/ 200014 h 1870136"/>
                <a:gd name="connsiteX1" fmla="*/ 180005 w 1850051"/>
                <a:gd name="connsiteY1" fmla="*/ 1870136 h 1870136"/>
                <a:gd name="connsiteX2" fmla="*/ 1850051 w 1850051"/>
                <a:gd name="connsiteY2" fmla="*/ 1530111 h 1870136"/>
                <a:gd name="connsiteX3" fmla="*/ 1470040 w 1850051"/>
                <a:gd name="connsiteY3" fmla="*/ 0 h 1870136"/>
                <a:gd name="connsiteX4" fmla="*/ 0 w 1850051"/>
                <a:gd name="connsiteY4" fmla="*/ 200014 h 1870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0051" h="1870136">
                  <a:moveTo>
                    <a:pt x="0" y="200014"/>
                  </a:moveTo>
                  <a:lnTo>
                    <a:pt x="180005" y="1870136"/>
                  </a:lnTo>
                  <a:lnTo>
                    <a:pt x="1850051" y="1530111"/>
                  </a:lnTo>
                  <a:lnTo>
                    <a:pt x="1470040" y="0"/>
                  </a:lnTo>
                  <a:lnTo>
                    <a:pt x="0" y="200014"/>
                  </a:lnTo>
                  <a:close/>
                </a:path>
              </a:pathLst>
            </a:custGeom>
            <a:gradFill flip="none" rotWithShape="1">
              <a:gsLst>
                <a:gs pos="51000">
                  <a:schemeClr val="bg1">
                    <a:lumMod val="65000"/>
                  </a:schemeClr>
                </a:gs>
                <a:gs pos="100000">
                  <a:srgbClr val="FFFFFF">
                    <a:alpha val="0"/>
                  </a:srgb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en-US" dirty="0">
                <a:solidFill>
                  <a:srgbClr val="FFFFFF"/>
                </a:solidFill>
                <a:ea typeface="ＭＳ Ｐゴシック" pitchFamily="-105" charset="-128"/>
              </a:endParaRPr>
            </a:p>
          </p:txBody>
        </p:sp>
        <p:sp>
          <p:nvSpPr>
            <p:cNvPr id="32" name="Freeform 20">
              <a:extLst>
                <a:ext uri="{FF2B5EF4-FFF2-40B4-BE49-F238E27FC236}">
                  <a16:creationId xmlns:a16="http://schemas.microsoft.com/office/drawing/2014/main" id="{DFD09A92-548D-4771-9B53-808839D01E11}"/>
                </a:ext>
              </a:extLst>
            </p:cNvPr>
            <p:cNvSpPr/>
            <p:nvPr/>
          </p:nvSpPr>
          <p:spPr bwMode="auto">
            <a:xfrm>
              <a:off x="965211" y="3048000"/>
              <a:ext cx="1276350" cy="1233487"/>
            </a:xfrm>
            <a:custGeom>
              <a:avLst/>
              <a:gdLst>
                <a:gd name="connsiteX0" fmla="*/ 248340 w 2131726"/>
                <a:gd name="connsiteY0" fmla="*/ 218350 h 1830134"/>
                <a:gd name="connsiteX1" fmla="*/ 1808383 w 2131726"/>
                <a:gd name="connsiteY1" fmla="*/ 18335 h 1830134"/>
                <a:gd name="connsiteX2" fmla="*/ 1828384 w 2131726"/>
                <a:gd name="connsiteY2" fmla="*/ 108342 h 1830134"/>
                <a:gd name="connsiteX3" fmla="*/ 1898385 w 2131726"/>
                <a:gd name="connsiteY3" fmla="*/ 598377 h 1830134"/>
                <a:gd name="connsiteX4" fmla="*/ 1998388 w 2131726"/>
                <a:gd name="connsiteY4" fmla="*/ 1118415 h 1830134"/>
                <a:gd name="connsiteX5" fmla="*/ 2128392 w 2131726"/>
                <a:gd name="connsiteY5" fmla="*/ 1578449 h 1830134"/>
                <a:gd name="connsiteX6" fmla="*/ 2018389 w 2131726"/>
                <a:gd name="connsiteY6" fmla="*/ 1608451 h 1830134"/>
                <a:gd name="connsiteX7" fmla="*/ 1568376 w 2131726"/>
                <a:gd name="connsiteY7" fmla="*/ 1678456 h 1830134"/>
                <a:gd name="connsiteX8" fmla="*/ 618351 w 2131726"/>
                <a:gd name="connsiteY8" fmla="*/ 1818466 h 1830134"/>
                <a:gd name="connsiteX9" fmla="*/ 488347 w 2131726"/>
                <a:gd name="connsiteY9" fmla="*/ 1608451 h 1830134"/>
                <a:gd name="connsiteX10" fmla="*/ 408345 w 2131726"/>
                <a:gd name="connsiteY10" fmla="*/ 1158418 h 1830134"/>
                <a:gd name="connsiteX11" fmla="*/ 318342 w 2131726"/>
                <a:gd name="connsiteY11" fmla="*/ 578376 h 1830134"/>
                <a:gd name="connsiteX12" fmla="*/ 248340 w 2131726"/>
                <a:gd name="connsiteY12" fmla="*/ 218350 h 1830134"/>
                <a:gd name="connsiteX0" fmla="*/ 0 w 1883386"/>
                <a:gd name="connsiteY0" fmla="*/ 218350 h 1830134"/>
                <a:gd name="connsiteX1" fmla="*/ 1560043 w 1883386"/>
                <a:gd name="connsiteY1" fmla="*/ 18335 h 1830134"/>
                <a:gd name="connsiteX2" fmla="*/ 1580044 w 1883386"/>
                <a:gd name="connsiteY2" fmla="*/ 108342 h 1830134"/>
                <a:gd name="connsiteX3" fmla="*/ 1650045 w 1883386"/>
                <a:gd name="connsiteY3" fmla="*/ 598377 h 1830134"/>
                <a:gd name="connsiteX4" fmla="*/ 1750048 w 1883386"/>
                <a:gd name="connsiteY4" fmla="*/ 1118415 h 1830134"/>
                <a:gd name="connsiteX5" fmla="*/ 1880052 w 1883386"/>
                <a:gd name="connsiteY5" fmla="*/ 1578449 h 1830134"/>
                <a:gd name="connsiteX6" fmla="*/ 1770049 w 1883386"/>
                <a:gd name="connsiteY6" fmla="*/ 1608451 h 1830134"/>
                <a:gd name="connsiteX7" fmla="*/ 1320036 w 1883386"/>
                <a:gd name="connsiteY7" fmla="*/ 1678456 h 1830134"/>
                <a:gd name="connsiteX8" fmla="*/ 370011 w 1883386"/>
                <a:gd name="connsiteY8" fmla="*/ 1818466 h 1830134"/>
                <a:gd name="connsiteX9" fmla="*/ 240007 w 1883386"/>
                <a:gd name="connsiteY9" fmla="*/ 1608451 h 1830134"/>
                <a:gd name="connsiteX10" fmla="*/ 160005 w 1883386"/>
                <a:gd name="connsiteY10" fmla="*/ 1158418 h 1830134"/>
                <a:gd name="connsiteX11" fmla="*/ 70002 w 1883386"/>
                <a:gd name="connsiteY11" fmla="*/ 578376 h 1830134"/>
                <a:gd name="connsiteX12" fmla="*/ 0 w 1883386"/>
                <a:gd name="connsiteY12" fmla="*/ 218350 h 1830134"/>
                <a:gd name="connsiteX0" fmla="*/ 0 w 1883386"/>
                <a:gd name="connsiteY0" fmla="*/ 206682 h 1818466"/>
                <a:gd name="connsiteX1" fmla="*/ 1560043 w 1883386"/>
                <a:gd name="connsiteY1" fmla="*/ 6667 h 1818466"/>
                <a:gd name="connsiteX2" fmla="*/ 1580044 w 1883386"/>
                <a:gd name="connsiteY2" fmla="*/ 96674 h 1818466"/>
                <a:gd name="connsiteX3" fmla="*/ 1650045 w 1883386"/>
                <a:gd name="connsiteY3" fmla="*/ 586709 h 1818466"/>
                <a:gd name="connsiteX4" fmla="*/ 1750048 w 1883386"/>
                <a:gd name="connsiteY4" fmla="*/ 1106747 h 1818466"/>
                <a:gd name="connsiteX5" fmla="*/ 1880052 w 1883386"/>
                <a:gd name="connsiteY5" fmla="*/ 1566781 h 1818466"/>
                <a:gd name="connsiteX6" fmla="*/ 1770049 w 1883386"/>
                <a:gd name="connsiteY6" fmla="*/ 1596783 h 1818466"/>
                <a:gd name="connsiteX7" fmla="*/ 1320036 w 1883386"/>
                <a:gd name="connsiteY7" fmla="*/ 1666788 h 1818466"/>
                <a:gd name="connsiteX8" fmla="*/ 370011 w 1883386"/>
                <a:gd name="connsiteY8" fmla="*/ 1806798 h 1818466"/>
                <a:gd name="connsiteX9" fmla="*/ 240007 w 1883386"/>
                <a:gd name="connsiteY9" fmla="*/ 1596783 h 1818466"/>
                <a:gd name="connsiteX10" fmla="*/ 160005 w 1883386"/>
                <a:gd name="connsiteY10" fmla="*/ 1146750 h 1818466"/>
                <a:gd name="connsiteX11" fmla="*/ 70002 w 1883386"/>
                <a:gd name="connsiteY11" fmla="*/ 566708 h 1818466"/>
                <a:gd name="connsiteX12" fmla="*/ 0 w 1883386"/>
                <a:gd name="connsiteY12" fmla="*/ 206682 h 1818466"/>
                <a:gd name="connsiteX0" fmla="*/ 0 w 1880052"/>
                <a:gd name="connsiteY0" fmla="*/ 206682 h 1818466"/>
                <a:gd name="connsiteX1" fmla="*/ 1560043 w 1880052"/>
                <a:gd name="connsiteY1" fmla="*/ 6667 h 1818466"/>
                <a:gd name="connsiteX2" fmla="*/ 1580044 w 1880052"/>
                <a:gd name="connsiteY2" fmla="*/ 96674 h 1818466"/>
                <a:gd name="connsiteX3" fmla="*/ 1650045 w 1880052"/>
                <a:gd name="connsiteY3" fmla="*/ 586709 h 1818466"/>
                <a:gd name="connsiteX4" fmla="*/ 1750048 w 1880052"/>
                <a:gd name="connsiteY4" fmla="*/ 1106747 h 1818466"/>
                <a:gd name="connsiteX5" fmla="*/ 1880052 w 1880052"/>
                <a:gd name="connsiteY5" fmla="*/ 1566781 h 1818466"/>
                <a:gd name="connsiteX6" fmla="*/ 1770049 w 1880052"/>
                <a:gd name="connsiteY6" fmla="*/ 1596783 h 1818466"/>
                <a:gd name="connsiteX7" fmla="*/ 1320036 w 1880052"/>
                <a:gd name="connsiteY7" fmla="*/ 1666788 h 1818466"/>
                <a:gd name="connsiteX8" fmla="*/ 370011 w 1880052"/>
                <a:gd name="connsiteY8" fmla="*/ 1806798 h 1818466"/>
                <a:gd name="connsiteX9" fmla="*/ 240007 w 1880052"/>
                <a:gd name="connsiteY9" fmla="*/ 1596783 h 1818466"/>
                <a:gd name="connsiteX10" fmla="*/ 160005 w 1880052"/>
                <a:gd name="connsiteY10" fmla="*/ 1146750 h 1818466"/>
                <a:gd name="connsiteX11" fmla="*/ 70002 w 1880052"/>
                <a:gd name="connsiteY11" fmla="*/ 566708 h 1818466"/>
                <a:gd name="connsiteX12" fmla="*/ 0 w 1880052"/>
                <a:gd name="connsiteY12" fmla="*/ 206682 h 1818466"/>
                <a:gd name="connsiteX0" fmla="*/ 0 w 1880052"/>
                <a:gd name="connsiteY0" fmla="*/ 206682 h 1818466"/>
                <a:gd name="connsiteX1" fmla="*/ 1560043 w 1880052"/>
                <a:gd name="connsiteY1" fmla="*/ 6667 h 1818466"/>
                <a:gd name="connsiteX2" fmla="*/ 1580044 w 1880052"/>
                <a:gd name="connsiteY2" fmla="*/ 96674 h 1818466"/>
                <a:gd name="connsiteX3" fmla="*/ 1650045 w 1880052"/>
                <a:gd name="connsiteY3" fmla="*/ 586709 h 1818466"/>
                <a:gd name="connsiteX4" fmla="*/ 1750048 w 1880052"/>
                <a:gd name="connsiteY4" fmla="*/ 1106747 h 1818466"/>
                <a:gd name="connsiteX5" fmla="*/ 1880052 w 1880052"/>
                <a:gd name="connsiteY5" fmla="*/ 1566781 h 1818466"/>
                <a:gd name="connsiteX6" fmla="*/ 1770049 w 1880052"/>
                <a:gd name="connsiteY6" fmla="*/ 1596783 h 1818466"/>
                <a:gd name="connsiteX7" fmla="*/ 1320036 w 1880052"/>
                <a:gd name="connsiteY7" fmla="*/ 1666788 h 1818466"/>
                <a:gd name="connsiteX8" fmla="*/ 370011 w 1880052"/>
                <a:gd name="connsiteY8" fmla="*/ 1806798 h 1818466"/>
                <a:gd name="connsiteX9" fmla="*/ 240007 w 1880052"/>
                <a:gd name="connsiteY9" fmla="*/ 1596783 h 1818466"/>
                <a:gd name="connsiteX10" fmla="*/ 160005 w 1880052"/>
                <a:gd name="connsiteY10" fmla="*/ 1146750 h 1818466"/>
                <a:gd name="connsiteX11" fmla="*/ 70002 w 1880052"/>
                <a:gd name="connsiteY11" fmla="*/ 566708 h 1818466"/>
                <a:gd name="connsiteX12" fmla="*/ 0 w 1880052"/>
                <a:gd name="connsiteY12" fmla="*/ 206682 h 1818466"/>
                <a:gd name="connsiteX0" fmla="*/ 0 w 1880052"/>
                <a:gd name="connsiteY0" fmla="*/ 206682 h 1818466"/>
                <a:gd name="connsiteX1" fmla="*/ 1560043 w 1880052"/>
                <a:gd name="connsiteY1" fmla="*/ 6667 h 1818466"/>
                <a:gd name="connsiteX2" fmla="*/ 1580044 w 1880052"/>
                <a:gd name="connsiteY2" fmla="*/ 96674 h 1818466"/>
                <a:gd name="connsiteX3" fmla="*/ 1650045 w 1880052"/>
                <a:gd name="connsiteY3" fmla="*/ 586709 h 1818466"/>
                <a:gd name="connsiteX4" fmla="*/ 1750048 w 1880052"/>
                <a:gd name="connsiteY4" fmla="*/ 1106747 h 1818466"/>
                <a:gd name="connsiteX5" fmla="*/ 1880052 w 1880052"/>
                <a:gd name="connsiteY5" fmla="*/ 1566781 h 1818466"/>
                <a:gd name="connsiteX6" fmla="*/ 1770049 w 1880052"/>
                <a:gd name="connsiteY6" fmla="*/ 1596783 h 1818466"/>
                <a:gd name="connsiteX7" fmla="*/ 1320036 w 1880052"/>
                <a:gd name="connsiteY7" fmla="*/ 1666788 h 1818466"/>
                <a:gd name="connsiteX8" fmla="*/ 370011 w 1880052"/>
                <a:gd name="connsiteY8" fmla="*/ 1806798 h 1818466"/>
                <a:gd name="connsiteX9" fmla="*/ 240007 w 1880052"/>
                <a:gd name="connsiteY9" fmla="*/ 1596783 h 1818466"/>
                <a:gd name="connsiteX10" fmla="*/ 160005 w 1880052"/>
                <a:gd name="connsiteY10" fmla="*/ 1146750 h 1818466"/>
                <a:gd name="connsiteX11" fmla="*/ 70002 w 1880052"/>
                <a:gd name="connsiteY11" fmla="*/ 566708 h 1818466"/>
                <a:gd name="connsiteX12" fmla="*/ 0 w 1880052"/>
                <a:gd name="connsiteY12" fmla="*/ 206682 h 1818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80052" h="1818466">
                  <a:moveTo>
                    <a:pt x="0" y="206682"/>
                  </a:moveTo>
                  <a:cubicBezTo>
                    <a:pt x="248340" y="113342"/>
                    <a:pt x="1296702" y="25002"/>
                    <a:pt x="1560043" y="6667"/>
                  </a:cubicBezTo>
                  <a:cubicBezTo>
                    <a:pt x="1580043" y="86673"/>
                    <a:pt x="1565044" y="0"/>
                    <a:pt x="1580044" y="96674"/>
                  </a:cubicBezTo>
                  <a:cubicBezTo>
                    <a:pt x="1595044" y="193348"/>
                    <a:pt x="1621711" y="418363"/>
                    <a:pt x="1650045" y="586709"/>
                  </a:cubicBezTo>
                  <a:cubicBezTo>
                    <a:pt x="1678379" y="755055"/>
                    <a:pt x="1711714" y="943402"/>
                    <a:pt x="1750048" y="1106747"/>
                  </a:cubicBezTo>
                  <a:cubicBezTo>
                    <a:pt x="1788382" y="1270092"/>
                    <a:pt x="1876718" y="1485108"/>
                    <a:pt x="1880052" y="1566781"/>
                  </a:cubicBezTo>
                  <a:cubicBezTo>
                    <a:pt x="1830050" y="1576338"/>
                    <a:pt x="1863385" y="1580115"/>
                    <a:pt x="1770049" y="1596783"/>
                  </a:cubicBezTo>
                  <a:cubicBezTo>
                    <a:pt x="1676713" y="1613451"/>
                    <a:pt x="1320036" y="1666788"/>
                    <a:pt x="1320036" y="1666788"/>
                  </a:cubicBezTo>
                  <a:cubicBezTo>
                    <a:pt x="1086696" y="1701790"/>
                    <a:pt x="550016" y="1818466"/>
                    <a:pt x="370011" y="1806798"/>
                  </a:cubicBezTo>
                  <a:cubicBezTo>
                    <a:pt x="290113" y="1691790"/>
                    <a:pt x="275008" y="1706791"/>
                    <a:pt x="240007" y="1596783"/>
                  </a:cubicBezTo>
                  <a:cubicBezTo>
                    <a:pt x="205006" y="1486775"/>
                    <a:pt x="188339" y="1318429"/>
                    <a:pt x="160005" y="1146750"/>
                  </a:cubicBezTo>
                  <a:cubicBezTo>
                    <a:pt x="131671" y="975071"/>
                    <a:pt x="95003" y="723386"/>
                    <a:pt x="70002" y="566708"/>
                  </a:cubicBezTo>
                  <a:cubicBezTo>
                    <a:pt x="45001" y="410030"/>
                    <a:pt x="30001" y="389417"/>
                    <a:pt x="0" y="206682"/>
                  </a:cubicBezTo>
                  <a:close/>
                </a:path>
              </a:pathLst>
            </a:custGeom>
            <a:solidFill>
              <a:srgbClr val="E7EFF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en-US" dirty="0">
                <a:solidFill>
                  <a:srgbClr val="FFFFFF"/>
                </a:solidFill>
                <a:ea typeface="ＭＳ Ｐゴシック" pitchFamily="-105" charset="-128"/>
              </a:endParaRPr>
            </a:p>
          </p:txBody>
        </p:sp>
        <p:sp>
          <p:nvSpPr>
            <p:cNvPr id="33" name="TextBox 42">
              <a:extLst>
                <a:ext uri="{FF2B5EF4-FFF2-40B4-BE49-F238E27FC236}">
                  <a16:creationId xmlns:a16="http://schemas.microsoft.com/office/drawing/2014/main" id="{3B680B59-AEE7-44FE-A648-98EC62A05ED6}"/>
                </a:ext>
              </a:extLst>
            </p:cNvPr>
            <p:cNvSpPr txBox="1">
              <a:spLocks noChangeArrowheads="1"/>
            </p:cNvSpPr>
            <p:nvPr/>
          </p:nvSpPr>
          <p:spPr bwMode="auto">
            <a:xfrm rot="21026375">
              <a:off x="1090950" y="3202374"/>
              <a:ext cx="985105" cy="93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pitchFamily="-105" charset="-128"/>
                </a:defRPr>
              </a:lvl1pPr>
              <a:lvl2pPr marL="37931725" indent="-37474525" eaLnBrk="0" hangingPunct="0">
                <a:defRPr sz="2400">
                  <a:solidFill>
                    <a:schemeClr val="tx1"/>
                  </a:solidFill>
                  <a:latin typeface="Arial" charset="0"/>
                  <a:ea typeface="ＭＳ Ｐゴシック" pitchFamily="-105" charset="-128"/>
                </a:defRPr>
              </a:lvl2pPr>
              <a:lvl3pPr eaLnBrk="0" hangingPunct="0">
                <a:defRPr sz="2400">
                  <a:solidFill>
                    <a:schemeClr val="tx1"/>
                  </a:solidFill>
                  <a:latin typeface="Arial" charset="0"/>
                  <a:ea typeface="ＭＳ Ｐゴシック" pitchFamily="-105" charset="-128"/>
                </a:defRPr>
              </a:lvl3pPr>
              <a:lvl4pPr eaLnBrk="0" hangingPunct="0">
                <a:defRPr sz="2400">
                  <a:solidFill>
                    <a:schemeClr val="tx1"/>
                  </a:solidFill>
                  <a:latin typeface="Arial" charset="0"/>
                  <a:ea typeface="ＭＳ Ｐゴシック" pitchFamily="-105" charset="-128"/>
                </a:defRPr>
              </a:lvl4pPr>
              <a:lvl5pPr eaLnBrk="0" hangingPunct="0">
                <a:defRPr sz="2400">
                  <a:solidFill>
                    <a:schemeClr val="tx1"/>
                  </a:solidFill>
                  <a:latin typeface="Arial" charset="0"/>
                  <a:ea typeface="ＭＳ Ｐゴシック" pitchFamily="-105" charset="-128"/>
                </a:defRPr>
              </a:lvl5pPr>
              <a:lvl6pPr marL="457200" eaLnBrk="0" fontAlgn="base" hangingPunct="0">
                <a:spcBef>
                  <a:spcPct val="0"/>
                </a:spcBef>
                <a:spcAft>
                  <a:spcPct val="0"/>
                </a:spcAft>
                <a:defRPr sz="2400">
                  <a:solidFill>
                    <a:schemeClr val="tx1"/>
                  </a:solidFill>
                  <a:latin typeface="Arial" charset="0"/>
                  <a:ea typeface="ＭＳ Ｐゴシック" pitchFamily="-105" charset="-128"/>
                </a:defRPr>
              </a:lvl6pPr>
              <a:lvl7pPr marL="914400" eaLnBrk="0" fontAlgn="base" hangingPunct="0">
                <a:spcBef>
                  <a:spcPct val="0"/>
                </a:spcBef>
                <a:spcAft>
                  <a:spcPct val="0"/>
                </a:spcAft>
                <a:defRPr sz="2400">
                  <a:solidFill>
                    <a:schemeClr val="tx1"/>
                  </a:solidFill>
                  <a:latin typeface="Arial" charset="0"/>
                  <a:ea typeface="ＭＳ Ｐゴシック" pitchFamily="-105" charset="-128"/>
                </a:defRPr>
              </a:lvl7pPr>
              <a:lvl8pPr marL="1371600" eaLnBrk="0" fontAlgn="base" hangingPunct="0">
                <a:spcBef>
                  <a:spcPct val="0"/>
                </a:spcBef>
                <a:spcAft>
                  <a:spcPct val="0"/>
                </a:spcAft>
                <a:defRPr sz="2400">
                  <a:solidFill>
                    <a:schemeClr val="tx1"/>
                  </a:solidFill>
                  <a:latin typeface="Arial" charset="0"/>
                  <a:ea typeface="ＭＳ Ｐゴシック" pitchFamily="-105" charset="-128"/>
                </a:defRPr>
              </a:lvl8pPr>
              <a:lvl9pPr marL="1828800" eaLnBrk="0" fontAlgn="base" hangingPunct="0">
                <a:spcBef>
                  <a:spcPct val="0"/>
                </a:spcBef>
                <a:spcAft>
                  <a:spcPct val="0"/>
                </a:spcAft>
                <a:defRPr sz="2400">
                  <a:solidFill>
                    <a:schemeClr val="tx1"/>
                  </a:solidFill>
                  <a:latin typeface="Arial" charset="0"/>
                  <a:ea typeface="ＭＳ Ｐゴシック" pitchFamily="-105" charset="-128"/>
                </a:defRPr>
              </a:lvl9pPr>
            </a:lstStyle>
            <a:p>
              <a:pPr eaLnBrk="1" hangingPunct="1"/>
              <a:r>
                <a:rPr lang="en-US" sz="2000" b="1" dirty="0">
                  <a:solidFill>
                    <a:schemeClr val="tx2"/>
                  </a:solidFill>
                  <a:latin typeface="Calibri" charset="0"/>
                </a:rPr>
                <a:t>Precedent transaction analysis is a method of company valuation, where past Merger &amp; Acquisition (M&amp;A) transactions are used to value a comparable business today.</a:t>
              </a:r>
            </a:p>
          </p:txBody>
        </p:sp>
      </p:grpSp>
      <p:grpSp>
        <p:nvGrpSpPr>
          <p:cNvPr id="34" name="Group 33">
            <a:extLst>
              <a:ext uri="{FF2B5EF4-FFF2-40B4-BE49-F238E27FC236}">
                <a16:creationId xmlns:a16="http://schemas.microsoft.com/office/drawing/2014/main" id="{E5D8819D-7B28-4691-A2DB-1A4F01375D6D}"/>
              </a:ext>
            </a:extLst>
          </p:cNvPr>
          <p:cNvGrpSpPr/>
          <p:nvPr/>
        </p:nvGrpSpPr>
        <p:grpSpPr>
          <a:xfrm>
            <a:off x="3740313" y="2019139"/>
            <a:ext cx="182881" cy="494764"/>
            <a:chOff x="3918273" y="5791200"/>
            <a:chExt cx="182881" cy="494764"/>
          </a:xfrm>
        </p:grpSpPr>
        <p:sp>
          <p:nvSpPr>
            <p:cNvPr id="35" name="Isosceles Triangle 34">
              <a:extLst>
                <a:ext uri="{FF2B5EF4-FFF2-40B4-BE49-F238E27FC236}">
                  <a16:creationId xmlns:a16="http://schemas.microsoft.com/office/drawing/2014/main" id="{092267C9-918E-4978-9DA8-5E5290DF476D}"/>
                </a:ext>
              </a:extLst>
            </p:cNvPr>
            <p:cNvSpPr/>
            <p:nvPr/>
          </p:nvSpPr>
          <p:spPr bwMode="auto">
            <a:xfrm rot="11821990">
              <a:off x="3927362" y="5961126"/>
              <a:ext cx="35567" cy="324838"/>
            </a:xfrm>
            <a:prstGeom prst="triangl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0" scaled="1"/>
              <a:tileRect/>
            </a:gra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6" name="Oval 35">
              <a:extLst>
                <a:ext uri="{FF2B5EF4-FFF2-40B4-BE49-F238E27FC236}">
                  <a16:creationId xmlns:a16="http://schemas.microsoft.com/office/drawing/2014/main" id="{DB9C14F8-FE72-4621-9D6C-47CA6FA3C19D}"/>
                </a:ext>
              </a:extLst>
            </p:cNvPr>
            <p:cNvSpPr/>
            <p:nvPr/>
          </p:nvSpPr>
          <p:spPr bwMode="auto">
            <a:xfrm>
              <a:off x="3918273" y="5791200"/>
              <a:ext cx="182881" cy="182881"/>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spTree>
    <p:extLst>
      <p:ext uri="{BB962C8B-B14F-4D97-AF65-F5344CB8AC3E}">
        <p14:creationId xmlns:p14="http://schemas.microsoft.com/office/powerpoint/2010/main" val="17623586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A Precedent transaction Analysis can be done by following 5 simple steps</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3</a:t>
            </a:fld>
            <a:endParaRPr lang="en-US" sz="1000" dirty="0">
              <a:solidFill>
                <a:srgbClr val="ADAFBB"/>
              </a:solidFill>
            </a:endParaRPr>
          </a:p>
        </p:txBody>
      </p:sp>
      <p:sp>
        <p:nvSpPr>
          <p:cNvPr id="11" name="Rectangle 10">
            <a:extLst>
              <a:ext uri="{FF2B5EF4-FFF2-40B4-BE49-F238E27FC236}">
                <a16:creationId xmlns:a16="http://schemas.microsoft.com/office/drawing/2014/main" id="{A597398E-9964-4760-BE83-9913F2C81F8F}"/>
              </a:ext>
            </a:extLst>
          </p:cNvPr>
          <p:cNvSpPr/>
          <p:nvPr/>
        </p:nvSpPr>
        <p:spPr>
          <a:xfrm>
            <a:off x="3135086" y="1942011"/>
            <a:ext cx="6618514" cy="781333"/>
          </a:xfrm>
          <a:prstGeom prst="rect">
            <a:avLst/>
          </a:prstGeom>
          <a:solidFill>
            <a:schemeClr val="tx1">
              <a:lumMod val="10000"/>
              <a:lumOff val="90000"/>
            </a:schemeClr>
          </a:solidFill>
          <a:ln w="19050" algn="ctr">
            <a:noFill/>
            <a:miter lim="800000"/>
            <a:headEnd type="none" w="sm" len="sm"/>
            <a:tailEnd type="none" w="sm" len="sm"/>
          </a:ln>
        </p:spPr>
        <p:txBody>
          <a:bodyPr wrap="square" lIns="91440" tIns="91440" rIns="91440" bIns="91440" anchor="ctr"/>
          <a:lstStyle/>
          <a:p>
            <a:pPr algn="ctr"/>
            <a:r>
              <a:rPr lang="en-US" sz="1400" b="1" dirty="0">
                <a:solidFill>
                  <a:srgbClr val="002060"/>
                </a:solidFill>
                <a:ea typeface="ＭＳ Ｐゴシック" pitchFamily="50" charset="-128"/>
              </a:rPr>
              <a:t>List potential relevant past transactions</a:t>
            </a:r>
          </a:p>
        </p:txBody>
      </p:sp>
      <p:sp>
        <p:nvSpPr>
          <p:cNvPr id="12" name="Rectangle 11">
            <a:extLst>
              <a:ext uri="{FF2B5EF4-FFF2-40B4-BE49-F238E27FC236}">
                <a16:creationId xmlns:a16="http://schemas.microsoft.com/office/drawing/2014/main" id="{72A5A317-CCEF-477B-BD7E-E93644D5F443}"/>
              </a:ext>
            </a:extLst>
          </p:cNvPr>
          <p:cNvSpPr/>
          <p:nvPr/>
        </p:nvSpPr>
        <p:spPr>
          <a:xfrm>
            <a:off x="2063926" y="1942011"/>
            <a:ext cx="990600" cy="781333"/>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9863" indent="-169863" algn="ctr"/>
            <a:r>
              <a:rPr lang="en-US" sz="3200" b="1" dirty="0">
                <a:solidFill>
                  <a:schemeClr val="bg1"/>
                </a:solidFill>
              </a:rPr>
              <a:t>1</a:t>
            </a:r>
          </a:p>
        </p:txBody>
      </p:sp>
      <p:sp>
        <p:nvSpPr>
          <p:cNvPr id="14" name="Rectangle 13">
            <a:extLst>
              <a:ext uri="{FF2B5EF4-FFF2-40B4-BE49-F238E27FC236}">
                <a16:creationId xmlns:a16="http://schemas.microsoft.com/office/drawing/2014/main" id="{6F683B2C-4208-4DA2-A5A9-0F54B0DAE309}"/>
              </a:ext>
            </a:extLst>
          </p:cNvPr>
          <p:cNvSpPr/>
          <p:nvPr/>
        </p:nvSpPr>
        <p:spPr>
          <a:xfrm>
            <a:off x="3135086" y="2839351"/>
            <a:ext cx="6618514" cy="781333"/>
          </a:xfrm>
          <a:prstGeom prst="rect">
            <a:avLst/>
          </a:prstGeom>
          <a:solidFill>
            <a:schemeClr val="tx1">
              <a:lumMod val="10000"/>
              <a:lumOff val="90000"/>
            </a:schemeClr>
          </a:solidFill>
          <a:ln w="19050" algn="ctr">
            <a:noFill/>
            <a:miter lim="800000"/>
            <a:headEnd type="none" w="sm" len="sm"/>
            <a:tailEnd type="none" w="sm" len="sm"/>
          </a:ln>
        </p:spPr>
        <p:txBody>
          <a:bodyPr wrap="square" lIns="91440" tIns="91440" rIns="91440" bIns="91440" anchor="ctr"/>
          <a:lstStyle/>
          <a:p>
            <a:pPr algn="ctr"/>
            <a:r>
              <a:rPr lang="en-US" sz="1400" b="1" dirty="0">
                <a:solidFill>
                  <a:srgbClr val="002060"/>
                </a:solidFill>
                <a:ea typeface="ＭＳ Ｐゴシック" pitchFamily="50" charset="-128"/>
              </a:rPr>
              <a:t>Gather data for each transaction</a:t>
            </a:r>
          </a:p>
        </p:txBody>
      </p:sp>
      <p:sp>
        <p:nvSpPr>
          <p:cNvPr id="15" name="Rectangle 14">
            <a:extLst>
              <a:ext uri="{FF2B5EF4-FFF2-40B4-BE49-F238E27FC236}">
                <a16:creationId xmlns:a16="http://schemas.microsoft.com/office/drawing/2014/main" id="{E0728C11-3ABF-43D2-A256-CCB0E6C16922}"/>
              </a:ext>
            </a:extLst>
          </p:cNvPr>
          <p:cNvSpPr/>
          <p:nvPr/>
        </p:nvSpPr>
        <p:spPr>
          <a:xfrm>
            <a:off x="2063926" y="2839351"/>
            <a:ext cx="990600" cy="781333"/>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9863" indent="-169863" algn="ctr"/>
            <a:r>
              <a:rPr lang="en-US" sz="3200" b="1" dirty="0">
                <a:solidFill>
                  <a:schemeClr val="bg1"/>
                </a:solidFill>
              </a:rPr>
              <a:t>2</a:t>
            </a:r>
          </a:p>
        </p:txBody>
      </p:sp>
      <p:sp>
        <p:nvSpPr>
          <p:cNvPr id="17" name="Rectangle 16">
            <a:extLst>
              <a:ext uri="{FF2B5EF4-FFF2-40B4-BE49-F238E27FC236}">
                <a16:creationId xmlns:a16="http://schemas.microsoft.com/office/drawing/2014/main" id="{428E633A-A6A0-4F56-8F9A-73FB8A86AE93}"/>
              </a:ext>
            </a:extLst>
          </p:cNvPr>
          <p:cNvSpPr/>
          <p:nvPr/>
        </p:nvSpPr>
        <p:spPr>
          <a:xfrm>
            <a:off x="3135086" y="3736691"/>
            <a:ext cx="6618514" cy="781333"/>
          </a:xfrm>
          <a:prstGeom prst="rect">
            <a:avLst/>
          </a:prstGeom>
          <a:solidFill>
            <a:schemeClr val="tx1">
              <a:lumMod val="10000"/>
              <a:lumOff val="90000"/>
            </a:schemeClr>
          </a:solidFill>
          <a:ln w="19050" algn="ctr">
            <a:noFill/>
            <a:miter lim="800000"/>
            <a:headEnd type="none" w="sm" len="sm"/>
            <a:tailEnd type="none" w="sm" len="sm"/>
          </a:ln>
        </p:spPr>
        <p:txBody>
          <a:bodyPr wrap="square" lIns="91440" tIns="91440" rIns="91440" bIns="91440" anchor="ctr"/>
          <a:lstStyle/>
          <a:p>
            <a:pPr algn="ctr"/>
            <a:r>
              <a:rPr lang="en-US" sz="1400" b="1" dirty="0">
                <a:solidFill>
                  <a:srgbClr val="002060"/>
                </a:solidFill>
                <a:ea typeface="ＭＳ Ｐゴシック" pitchFamily="50" charset="-128"/>
              </a:rPr>
              <a:t>Select the most relevant past transactions</a:t>
            </a:r>
          </a:p>
        </p:txBody>
      </p:sp>
      <p:sp>
        <p:nvSpPr>
          <p:cNvPr id="18" name="Rectangle 17">
            <a:extLst>
              <a:ext uri="{FF2B5EF4-FFF2-40B4-BE49-F238E27FC236}">
                <a16:creationId xmlns:a16="http://schemas.microsoft.com/office/drawing/2014/main" id="{17E45525-5679-4837-B6D1-8BFA31BC8485}"/>
              </a:ext>
            </a:extLst>
          </p:cNvPr>
          <p:cNvSpPr/>
          <p:nvPr/>
        </p:nvSpPr>
        <p:spPr>
          <a:xfrm>
            <a:off x="2063926" y="3736691"/>
            <a:ext cx="990600" cy="781333"/>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9863" indent="-169863" algn="ctr"/>
            <a:r>
              <a:rPr lang="en-US" sz="3200" b="1" dirty="0">
                <a:solidFill>
                  <a:schemeClr val="bg1"/>
                </a:solidFill>
              </a:rPr>
              <a:t>3</a:t>
            </a:r>
          </a:p>
        </p:txBody>
      </p:sp>
      <p:sp>
        <p:nvSpPr>
          <p:cNvPr id="19" name="Rectangle 18">
            <a:extLst>
              <a:ext uri="{FF2B5EF4-FFF2-40B4-BE49-F238E27FC236}">
                <a16:creationId xmlns:a16="http://schemas.microsoft.com/office/drawing/2014/main" id="{A478F9CB-73E3-462B-836A-F8144A3609D7}"/>
              </a:ext>
            </a:extLst>
          </p:cNvPr>
          <p:cNvSpPr/>
          <p:nvPr/>
        </p:nvSpPr>
        <p:spPr>
          <a:xfrm>
            <a:off x="3135086" y="4634031"/>
            <a:ext cx="6618514" cy="781333"/>
          </a:xfrm>
          <a:prstGeom prst="rect">
            <a:avLst/>
          </a:prstGeom>
          <a:solidFill>
            <a:schemeClr val="tx1">
              <a:lumMod val="10000"/>
              <a:lumOff val="90000"/>
            </a:schemeClr>
          </a:solidFill>
          <a:ln w="19050" algn="ctr">
            <a:noFill/>
            <a:miter lim="800000"/>
            <a:headEnd type="none" w="sm" len="sm"/>
            <a:tailEnd type="none" w="sm" len="sm"/>
          </a:ln>
        </p:spPr>
        <p:txBody>
          <a:bodyPr wrap="square" lIns="91440" tIns="91440" rIns="91440" bIns="91440" anchor="ctr"/>
          <a:lstStyle/>
          <a:p>
            <a:pPr algn="ctr"/>
            <a:r>
              <a:rPr lang="en-US" sz="1400" b="1" dirty="0">
                <a:solidFill>
                  <a:srgbClr val="002060"/>
                </a:solidFill>
                <a:ea typeface="ＭＳ Ｐゴシック" pitchFamily="50" charset="-128"/>
              </a:rPr>
              <a:t>Calculate the valuation multiples</a:t>
            </a:r>
          </a:p>
        </p:txBody>
      </p:sp>
      <p:sp>
        <p:nvSpPr>
          <p:cNvPr id="20" name="Rectangle 19">
            <a:extLst>
              <a:ext uri="{FF2B5EF4-FFF2-40B4-BE49-F238E27FC236}">
                <a16:creationId xmlns:a16="http://schemas.microsoft.com/office/drawing/2014/main" id="{9D040486-FC04-4F02-8EFC-3633F4DC8C01}"/>
              </a:ext>
            </a:extLst>
          </p:cNvPr>
          <p:cNvSpPr/>
          <p:nvPr/>
        </p:nvSpPr>
        <p:spPr>
          <a:xfrm>
            <a:off x="2063926" y="4634031"/>
            <a:ext cx="990600" cy="781333"/>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9863" indent="-169863" algn="ctr"/>
            <a:r>
              <a:rPr lang="en-US" sz="3200" b="1" dirty="0">
                <a:solidFill>
                  <a:schemeClr val="bg1"/>
                </a:solidFill>
              </a:rPr>
              <a:t>4</a:t>
            </a:r>
          </a:p>
        </p:txBody>
      </p:sp>
      <p:sp>
        <p:nvSpPr>
          <p:cNvPr id="22" name="Rectangle 21">
            <a:extLst>
              <a:ext uri="{FF2B5EF4-FFF2-40B4-BE49-F238E27FC236}">
                <a16:creationId xmlns:a16="http://schemas.microsoft.com/office/drawing/2014/main" id="{0DDF831D-1EB0-4DC1-9020-DF869F5ADC99}"/>
              </a:ext>
            </a:extLst>
          </p:cNvPr>
          <p:cNvSpPr/>
          <p:nvPr/>
        </p:nvSpPr>
        <p:spPr>
          <a:xfrm>
            <a:off x="3135086" y="5531370"/>
            <a:ext cx="6618514" cy="781333"/>
          </a:xfrm>
          <a:prstGeom prst="rect">
            <a:avLst/>
          </a:prstGeom>
          <a:solidFill>
            <a:schemeClr val="tx1">
              <a:lumMod val="10000"/>
              <a:lumOff val="90000"/>
            </a:schemeClr>
          </a:solidFill>
          <a:ln w="19050" algn="ctr">
            <a:noFill/>
            <a:miter lim="800000"/>
            <a:headEnd type="none" w="sm" len="sm"/>
            <a:tailEnd type="none" w="sm" len="sm"/>
          </a:ln>
        </p:spPr>
        <p:txBody>
          <a:bodyPr wrap="square" lIns="91440" tIns="91440" rIns="91440" bIns="91440" anchor="ctr"/>
          <a:lstStyle/>
          <a:p>
            <a:pPr algn="ctr"/>
            <a:r>
              <a:rPr lang="en-US" sz="1400" b="1" dirty="0">
                <a:solidFill>
                  <a:srgbClr val="002060"/>
                </a:solidFill>
                <a:ea typeface="ＭＳ Ｐゴシック" pitchFamily="50" charset="-128"/>
              </a:rPr>
              <a:t>Apply the valuation multiples to the company in question</a:t>
            </a:r>
          </a:p>
        </p:txBody>
      </p:sp>
      <p:sp>
        <p:nvSpPr>
          <p:cNvPr id="25" name="Rectangle 24">
            <a:extLst>
              <a:ext uri="{FF2B5EF4-FFF2-40B4-BE49-F238E27FC236}">
                <a16:creationId xmlns:a16="http://schemas.microsoft.com/office/drawing/2014/main" id="{CFE1FE9C-2E84-4EBD-B9A3-7B0776C7743E}"/>
              </a:ext>
            </a:extLst>
          </p:cNvPr>
          <p:cNvSpPr/>
          <p:nvPr/>
        </p:nvSpPr>
        <p:spPr>
          <a:xfrm>
            <a:off x="2063926" y="5531370"/>
            <a:ext cx="990600" cy="781333"/>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9863" indent="-169863" algn="ctr"/>
            <a:r>
              <a:rPr lang="en-US" sz="3200" b="1" dirty="0">
                <a:solidFill>
                  <a:schemeClr val="bg1"/>
                </a:solidFill>
              </a:rPr>
              <a:t>5</a:t>
            </a:r>
          </a:p>
        </p:txBody>
      </p:sp>
    </p:spTree>
    <p:extLst>
      <p:ext uri="{BB962C8B-B14F-4D97-AF65-F5344CB8AC3E}">
        <p14:creationId xmlns:p14="http://schemas.microsoft.com/office/powerpoint/2010/main" val="35565071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ep 1. List potential relevant past transactions</a:t>
            </a:r>
            <a:endParaRPr lang="en-US" sz="2000" b="0" kern="0" dirty="0">
              <a:solidFill>
                <a:schemeClr val="tx2">
                  <a:lumMod val="60000"/>
                  <a:lumOff val="40000"/>
                </a:schemeClr>
              </a:solidFill>
            </a:endParaRP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4</a:t>
            </a:fld>
            <a:endParaRPr lang="en-US" sz="1000" dirty="0">
              <a:solidFill>
                <a:srgbClr val="ADAFBB"/>
              </a:solidFill>
            </a:endParaRPr>
          </a:p>
        </p:txBody>
      </p:sp>
      <p:sp>
        <p:nvSpPr>
          <p:cNvPr id="3" name="TextBox 2">
            <a:extLst>
              <a:ext uri="{FF2B5EF4-FFF2-40B4-BE49-F238E27FC236}">
                <a16:creationId xmlns:a16="http://schemas.microsoft.com/office/drawing/2014/main" id="{4A86BE2E-9A5E-4932-B43D-23B6B0E5EFA4}"/>
              </a:ext>
            </a:extLst>
          </p:cNvPr>
          <p:cNvSpPr txBox="1"/>
          <p:nvPr/>
        </p:nvSpPr>
        <p:spPr>
          <a:xfrm>
            <a:off x="583474" y="1663337"/>
            <a:ext cx="11003689" cy="3123932"/>
          </a:xfrm>
          <a:prstGeom prst="rect">
            <a:avLst/>
          </a:prstGeom>
          <a:noFill/>
        </p:spPr>
        <p:txBody>
          <a:bodyPr wrap="square" rtlCol="0">
            <a:spAutoFit/>
          </a:bodyPr>
          <a:lstStyle/>
          <a:p>
            <a:pPr>
              <a:spcBef>
                <a:spcPts val="300"/>
              </a:spcBef>
              <a:spcAft>
                <a:spcPts val="300"/>
              </a:spcAft>
            </a:pPr>
            <a:r>
              <a:rPr lang="en-US" sz="1800" b="1">
                <a:solidFill>
                  <a:srgbClr val="002060"/>
                </a:solidFill>
                <a:ea typeface="ＭＳ Ｐゴシック" pitchFamily="50" charset="-128"/>
              </a:rPr>
              <a:t>Search for past transactions where the companies that have been purchased have many similarities with the company you are trying to value. The main criteria you need to search for are:</a:t>
            </a:r>
          </a:p>
          <a:p>
            <a:pPr marL="285750" indent="-171450">
              <a:spcBef>
                <a:spcPts val="300"/>
              </a:spcBef>
              <a:spcAft>
                <a:spcPts val="300"/>
              </a:spcAft>
              <a:buFont typeface="Arial" panose="020B0604020202020204" pitchFamily="34" charset="0"/>
              <a:buChar char="•"/>
            </a:pPr>
            <a:r>
              <a:rPr lang="en-US" sz="1800">
                <a:solidFill>
                  <a:srgbClr val="002060"/>
                </a:solidFill>
                <a:ea typeface="ＭＳ Ｐゴシック" pitchFamily="50" charset="-128"/>
              </a:rPr>
              <a:t>The industry</a:t>
            </a:r>
          </a:p>
          <a:p>
            <a:pPr marL="285750" indent="-171450">
              <a:spcBef>
                <a:spcPts val="300"/>
              </a:spcBef>
              <a:spcAft>
                <a:spcPts val="300"/>
              </a:spcAft>
              <a:buFont typeface="Arial" panose="020B0604020202020204" pitchFamily="34" charset="0"/>
              <a:buChar char="•"/>
            </a:pPr>
            <a:r>
              <a:rPr lang="en-US" sz="1800">
                <a:solidFill>
                  <a:srgbClr val="002060"/>
                </a:solidFill>
                <a:ea typeface="ＭＳ Ｐゴシック" pitchFamily="50" charset="-128"/>
              </a:rPr>
              <a:t>The type of company (public, private, etc.)</a:t>
            </a:r>
          </a:p>
          <a:p>
            <a:pPr marL="285750" indent="-171450">
              <a:spcBef>
                <a:spcPts val="300"/>
              </a:spcBef>
              <a:spcAft>
                <a:spcPts val="300"/>
              </a:spcAft>
              <a:buFont typeface="Arial" panose="020B0604020202020204" pitchFamily="34" charset="0"/>
              <a:buChar char="•"/>
            </a:pPr>
            <a:r>
              <a:rPr lang="en-US" sz="1800">
                <a:solidFill>
                  <a:srgbClr val="002060"/>
                </a:solidFill>
                <a:ea typeface="ＭＳ Ｐゴシック" pitchFamily="50" charset="-128"/>
              </a:rPr>
              <a:t>The company size in terms of revenue and employees</a:t>
            </a:r>
          </a:p>
          <a:p>
            <a:pPr marL="285750" indent="-171450">
              <a:spcBef>
                <a:spcPts val="300"/>
              </a:spcBef>
              <a:spcAft>
                <a:spcPts val="300"/>
              </a:spcAft>
              <a:buFont typeface="Arial" panose="020B0604020202020204" pitchFamily="34" charset="0"/>
              <a:buChar char="•"/>
            </a:pPr>
            <a:r>
              <a:rPr lang="en-US" sz="1800">
                <a:solidFill>
                  <a:srgbClr val="002060"/>
                </a:solidFill>
                <a:ea typeface="ＭＳ Ｐゴシック" pitchFamily="50" charset="-128"/>
              </a:rPr>
              <a:t>The types of products or services the company is selling</a:t>
            </a:r>
          </a:p>
          <a:p>
            <a:pPr marL="285750" indent="-171450">
              <a:spcBef>
                <a:spcPts val="300"/>
              </a:spcBef>
              <a:spcAft>
                <a:spcPts val="300"/>
              </a:spcAft>
              <a:buFont typeface="Arial" panose="020B0604020202020204" pitchFamily="34" charset="0"/>
              <a:buChar char="•"/>
            </a:pPr>
            <a:r>
              <a:rPr lang="en-US" sz="1800">
                <a:solidFill>
                  <a:srgbClr val="002060"/>
                </a:solidFill>
                <a:ea typeface="ＭＳ Ｐゴシック" pitchFamily="50" charset="-128"/>
              </a:rPr>
              <a:t>The deal size</a:t>
            </a:r>
          </a:p>
          <a:p>
            <a:pPr marL="285750" indent="-171450">
              <a:spcBef>
                <a:spcPts val="300"/>
              </a:spcBef>
              <a:spcAft>
                <a:spcPts val="300"/>
              </a:spcAft>
              <a:buFont typeface="Arial" panose="020B0604020202020204" pitchFamily="34" charset="0"/>
              <a:buChar char="•"/>
            </a:pPr>
            <a:r>
              <a:rPr lang="en-US" sz="1800">
                <a:solidFill>
                  <a:srgbClr val="002060"/>
                </a:solidFill>
                <a:ea typeface="ＭＳ Ｐゴシック" pitchFamily="50" charset="-128"/>
              </a:rPr>
              <a:t>The type of buyer (Competitor, private equity, public, private, etc.)</a:t>
            </a:r>
          </a:p>
          <a:p>
            <a:pPr marL="114300">
              <a:spcBef>
                <a:spcPts val="300"/>
              </a:spcBef>
              <a:spcAft>
                <a:spcPts val="300"/>
              </a:spcAft>
            </a:pPr>
            <a:endParaRPr lang="en-US" sz="1800" dirty="0">
              <a:solidFill>
                <a:srgbClr val="002060"/>
              </a:solidFill>
              <a:ea typeface="ＭＳ Ｐゴシック" pitchFamily="50" charset="-128"/>
            </a:endParaRPr>
          </a:p>
        </p:txBody>
      </p:sp>
    </p:spTree>
    <p:extLst>
      <p:ext uri="{BB962C8B-B14F-4D97-AF65-F5344CB8AC3E}">
        <p14:creationId xmlns:p14="http://schemas.microsoft.com/office/powerpoint/2010/main" val="29049244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ep 2. Gather data for each transaction</a:t>
            </a:r>
            <a:endParaRPr lang="en-US" sz="2000" b="0" kern="0" dirty="0">
              <a:solidFill>
                <a:schemeClr val="tx2">
                  <a:lumMod val="60000"/>
                  <a:lumOff val="40000"/>
                </a:schemeClr>
              </a:solidFill>
            </a:endParaRP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5</a:t>
            </a:fld>
            <a:endParaRPr lang="en-US" sz="1000" dirty="0">
              <a:solidFill>
                <a:srgbClr val="ADAFBB"/>
              </a:solidFill>
            </a:endParaRPr>
          </a:p>
        </p:txBody>
      </p:sp>
      <p:sp>
        <p:nvSpPr>
          <p:cNvPr id="3" name="TextBox 2">
            <a:extLst>
              <a:ext uri="{FF2B5EF4-FFF2-40B4-BE49-F238E27FC236}">
                <a16:creationId xmlns:a16="http://schemas.microsoft.com/office/drawing/2014/main" id="{4A86BE2E-9A5E-4932-B43D-23B6B0E5EFA4}"/>
              </a:ext>
            </a:extLst>
          </p:cNvPr>
          <p:cNvSpPr txBox="1"/>
          <p:nvPr/>
        </p:nvSpPr>
        <p:spPr>
          <a:xfrm>
            <a:off x="583474" y="1663337"/>
            <a:ext cx="11003689" cy="4985980"/>
          </a:xfrm>
          <a:prstGeom prst="rect">
            <a:avLst/>
          </a:prstGeom>
          <a:noFill/>
        </p:spPr>
        <p:txBody>
          <a:bodyPr wrap="square" rtlCol="0">
            <a:spAutoFit/>
          </a:bodyPr>
          <a:lstStyle/>
          <a:p>
            <a:pPr>
              <a:spcBef>
                <a:spcPts val="300"/>
              </a:spcBef>
              <a:spcAft>
                <a:spcPts val="300"/>
              </a:spcAft>
            </a:pPr>
            <a:r>
              <a:rPr lang="en-US" sz="1400" b="1" dirty="0">
                <a:solidFill>
                  <a:srgbClr val="002060"/>
                </a:solidFill>
                <a:ea typeface="ＭＳ Ｐゴシック" pitchFamily="50" charset="-128"/>
              </a:rPr>
              <a:t>There are many potential sources for information that can be leveraged to gather all the relevant data. For example:</a:t>
            </a:r>
          </a:p>
          <a:p>
            <a:pPr marL="285750" indent="-171450">
              <a:spcBef>
                <a:spcPts val="300"/>
              </a:spcBef>
              <a:spcAft>
                <a:spcPts val="300"/>
              </a:spcAft>
              <a:buFont typeface="Arial" panose="020B0604020202020204" pitchFamily="34" charset="0"/>
              <a:buChar char="•"/>
            </a:pPr>
            <a:r>
              <a:rPr lang="en-US" sz="1400" dirty="0">
                <a:solidFill>
                  <a:srgbClr val="002060"/>
                </a:solidFill>
                <a:ea typeface="ＭＳ Ｐゴシック" pitchFamily="50" charset="-128"/>
              </a:rPr>
              <a:t>Blomberg</a:t>
            </a:r>
          </a:p>
          <a:p>
            <a:pPr marL="285750" indent="-171450">
              <a:spcBef>
                <a:spcPts val="300"/>
              </a:spcBef>
              <a:spcAft>
                <a:spcPts val="300"/>
              </a:spcAft>
              <a:buFont typeface="Arial" panose="020B0604020202020204" pitchFamily="34" charset="0"/>
              <a:buChar char="•"/>
            </a:pPr>
            <a:r>
              <a:rPr lang="en-US" sz="1400" dirty="0" err="1">
                <a:solidFill>
                  <a:srgbClr val="002060"/>
                </a:solidFill>
                <a:ea typeface="ＭＳ Ｐゴシック" pitchFamily="50" charset="-128"/>
              </a:rPr>
              <a:t>CapIQ</a:t>
            </a:r>
            <a:endParaRPr lang="en-US" sz="1400" dirty="0">
              <a:solidFill>
                <a:srgbClr val="002060"/>
              </a:solidFill>
              <a:ea typeface="ＭＳ Ｐゴシック" pitchFamily="50" charset="-128"/>
            </a:endParaRPr>
          </a:p>
          <a:p>
            <a:pPr marL="285750" indent="-171450">
              <a:spcBef>
                <a:spcPts val="300"/>
              </a:spcBef>
              <a:spcAft>
                <a:spcPts val="300"/>
              </a:spcAft>
              <a:buFont typeface="Arial" panose="020B0604020202020204" pitchFamily="34" charset="0"/>
              <a:buChar char="•"/>
            </a:pPr>
            <a:r>
              <a:rPr lang="en-US" sz="1400" dirty="0">
                <a:solidFill>
                  <a:srgbClr val="002060"/>
                </a:solidFill>
                <a:ea typeface="ＭＳ Ｐゴシック" pitchFamily="50" charset="-128"/>
              </a:rPr>
              <a:t>Press releases</a:t>
            </a:r>
          </a:p>
          <a:p>
            <a:pPr marL="285750" indent="-171450">
              <a:spcBef>
                <a:spcPts val="300"/>
              </a:spcBef>
              <a:spcAft>
                <a:spcPts val="300"/>
              </a:spcAft>
              <a:buFont typeface="Arial" panose="020B0604020202020204" pitchFamily="34" charset="0"/>
              <a:buChar char="•"/>
            </a:pPr>
            <a:r>
              <a:rPr lang="en-US" sz="1400" dirty="0">
                <a:solidFill>
                  <a:srgbClr val="002060"/>
                </a:solidFill>
                <a:ea typeface="ＭＳ Ｐゴシック" pitchFamily="50" charset="-128"/>
              </a:rPr>
              <a:t>Equity research reports</a:t>
            </a:r>
          </a:p>
          <a:p>
            <a:pPr marL="285750" indent="-171450">
              <a:spcBef>
                <a:spcPts val="300"/>
              </a:spcBef>
              <a:spcAft>
                <a:spcPts val="300"/>
              </a:spcAft>
              <a:buFont typeface="Arial" panose="020B0604020202020204" pitchFamily="34" charset="0"/>
              <a:buChar char="•"/>
            </a:pPr>
            <a:r>
              <a:rPr lang="en-US" sz="1400" dirty="0">
                <a:solidFill>
                  <a:srgbClr val="002060"/>
                </a:solidFill>
                <a:ea typeface="ＭＳ Ｐゴシック" pitchFamily="50" charset="-128"/>
              </a:rPr>
              <a:t>Company annual reports (10K)</a:t>
            </a:r>
          </a:p>
          <a:p>
            <a:pPr marL="285750" indent="-171450">
              <a:spcBef>
                <a:spcPts val="300"/>
              </a:spcBef>
              <a:spcAft>
                <a:spcPts val="300"/>
              </a:spcAft>
              <a:buFont typeface="Arial" panose="020B0604020202020204" pitchFamily="34" charset="0"/>
              <a:buChar char="•"/>
            </a:pPr>
            <a:r>
              <a:rPr lang="en-US" sz="1400" dirty="0">
                <a:solidFill>
                  <a:srgbClr val="002060"/>
                </a:solidFill>
                <a:ea typeface="ＭＳ Ｐゴシック" pitchFamily="50" charset="-128"/>
              </a:rPr>
              <a:t>Company quarterly reports (10Q)</a:t>
            </a:r>
          </a:p>
          <a:p>
            <a:pPr marL="285750" indent="-171450">
              <a:spcBef>
                <a:spcPts val="300"/>
              </a:spcBef>
              <a:spcAft>
                <a:spcPts val="300"/>
              </a:spcAft>
              <a:buFont typeface="Arial" panose="020B0604020202020204" pitchFamily="34" charset="0"/>
              <a:buChar char="•"/>
            </a:pPr>
            <a:r>
              <a:rPr lang="en-US" sz="1400" dirty="0">
                <a:solidFill>
                  <a:srgbClr val="002060"/>
                </a:solidFill>
                <a:ea typeface="ＭＳ Ｐゴシック" pitchFamily="50" charset="-128"/>
              </a:rPr>
              <a:t>Etc.</a:t>
            </a:r>
          </a:p>
          <a:p>
            <a:pPr>
              <a:spcBef>
                <a:spcPts val="600"/>
              </a:spcBef>
              <a:spcAft>
                <a:spcPts val="300"/>
              </a:spcAft>
            </a:pPr>
            <a:r>
              <a:rPr lang="en-US" sz="1400" b="1" dirty="0">
                <a:solidFill>
                  <a:srgbClr val="002060"/>
                </a:solidFill>
                <a:ea typeface="ＭＳ Ｐゴシック" pitchFamily="50" charset="-128"/>
              </a:rPr>
              <a:t>Besides the key data mentioned in the previous slide, you’ll have to gather:</a:t>
            </a:r>
          </a:p>
          <a:p>
            <a:pPr marL="285750" indent="-171450">
              <a:spcBef>
                <a:spcPts val="300"/>
              </a:spcBef>
              <a:spcAft>
                <a:spcPts val="300"/>
              </a:spcAft>
              <a:buFont typeface="Arial" panose="020B0604020202020204" pitchFamily="34" charset="0"/>
              <a:buChar char="•"/>
            </a:pPr>
            <a:r>
              <a:rPr lang="en-US" sz="1400" dirty="0">
                <a:solidFill>
                  <a:srgbClr val="002060"/>
                </a:solidFill>
                <a:ea typeface="ＭＳ Ｐゴシック" pitchFamily="50" charset="-128"/>
              </a:rPr>
              <a:t>Purchase Price Market Equity Value (Market Equity Value = Share price X Number of shares)</a:t>
            </a:r>
          </a:p>
          <a:p>
            <a:pPr marL="285750" indent="-171450">
              <a:spcBef>
                <a:spcPts val="300"/>
              </a:spcBef>
              <a:spcAft>
                <a:spcPts val="300"/>
              </a:spcAft>
              <a:buFont typeface="Arial" panose="020B0604020202020204" pitchFamily="34" charset="0"/>
              <a:buChar char="•"/>
            </a:pPr>
            <a:r>
              <a:rPr lang="en-US" sz="1400" dirty="0">
                <a:solidFill>
                  <a:srgbClr val="002060"/>
                </a:solidFill>
                <a:ea typeface="ＭＳ Ｐゴシック" pitchFamily="50" charset="-128"/>
              </a:rPr>
              <a:t>Purchase Price Enterprise Value (Enterprise Value = Market Equity Value - Cash + Short term debt)</a:t>
            </a:r>
          </a:p>
          <a:p>
            <a:pPr marL="285750" indent="-171450">
              <a:spcBef>
                <a:spcPts val="300"/>
              </a:spcBef>
              <a:spcAft>
                <a:spcPts val="300"/>
              </a:spcAft>
              <a:buFont typeface="Arial" panose="020B0604020202020204" pitchFamily="34" charset="0"/>
              <a:buChar char="•"/>
            </a:pPr>
            <a:r>
              <a:rPr lang="en-US" sz="1400" dirty="0">
                <a:solidFill>
                  <a:srgbClr val="002060"/>
                </a:solidFill>
                <a:ea typeface="ＭＳ Ｐゴシック" pitchFamily="50" charset="-128"/>
              </a:rPr>
              <a:t>Sales</a:t>
            </a:r>
          </a:p>
          <a:p>
            <a:pPr marL="285750" indent="-171450">
              <a:spcBef>
                <a:spcPts val="300"/>
              </a:spcBef>
              <a:spcAft>
                <a:spcPts val="300"/>
              </a:spcAft>
              <a:buFont typeface="Arial" panose="020B0604020202020204" pitchFamily="34" charset="0"/>
              <a:buChar char="•"/>
            </a:pPr>
            <a:r>
              <a:rPr lang="en-US" sz="1400" dirty="0">
                <a:solidFill>
                  <a:srgbClr val="002060"/>
                </a:solidFill>
                <a:ea typeface="ＭＳ Ｐゴシック" pitchFamily="50" charset="-128"/>
              </a:rPr>
              <a:t>EBITDA</a:t>
            </a:r>
          </a:p>
          <a:p>
            <a:pPr marL="285750" indent="-171450">
              <a:spcBef>
                <a:spcPts val="300"/>
              </a:spcBef>
              <a:spcAft>
                <a:spcPts val="300"/>
              </a:spcAft>
              <a:buFont typeface="Arial" panose="020B0604020202020204" pitchFamily="34" charset="0"/>
              <a:buChar char="•"/>
            </a:pPr>
            <a:r>
              <a:rPr lang="en-US" sz="1400" dirty="0">
                <a:solidFill>
                  <a:srgbClr val="002060"/>
                </a:solidFill>
                <a:ea typeface="ＭＳ Ｐゴシック" pitchFamily="50" charset="-128"/>
              </a:rPr>
              <a:t>EBIT</a:t>
            </a:r>
          </a:p>
          <a:p>
            <a:pPr marL="285750" indent="-171450">
              <a:spcBef>
                <a:spcPts val="300"/>
              </a:spcBef>
              <a:spcAft>
                <a:spcPts val="300"/>
              </a:spcAft>
              <a:buFont typeface="Arial" panose="020B0604020202020204" pitchFamily="34" charset="0"/>
              <a:buChar char="•"/>
            </a:pPr>
            <a:r>
              <a:rPr lang="en-US" sz="1400" dirty="0">
                <a:solidFill>
                  <a:srgbClr val="002060"/>
                </a:solidFill>
                <a:ea typeface="ＭＳ Ｐゴシック" pitchFamily="50" charset="-128"/>
              </a:rPr>
              <a:t>Net Income</a:t>
            </a:r>
          </a:p>
          <a:p>
            <a:pPr>
              <a:spcBef>
                <a:spcPts val="600"/>
              </a:spcBef>
              <a:spcAft>
                <a:spcPts val="300"/>
              </a:spcAft>
            </a:pPr>
            <a:r>
              <a:rPr lang="en-US" sz="1400" b="1" dirty="0">
                <a:solidFill>
                  <a:srgbClr val="002060"/>
                </a:solidFill>
                <a:ea typeface="ＭＳ Ｐゴシック" pitchFamily="50" charset="-128"/>
              </a:rPr>
              <a:t>And finally, input the data in the blue columns of the Excel Document “Precedent Transaction </a:t>
            </a:r>
            <a:r>
              <a:rPr lang="en-US" sz="1400" b="1" dirty="0" err="1">
                <a:solidFill>
                  <a:srgbClr val="002060"/>
                </a:solidFill>
                <a:ea typeface="ＭＳ Ｐゴシック" pitchFamily="50" charset="-128"/>
              </a:rPr>
              <a:t>Analysis_Template</a:t>
            </a:r>
            <a:r>
              <a:rPr lang="en-US" sz="1400" b="1" dirty="0">
                <a:solidFill>
                  <a:srgbClr val="002060"/>
                </a:solidFill>
                <a:ea typeface="ＭＳ Ｐゴシック" pitchFamily="50" charset="-128"/>
              </a:rPr>
              <a:t>”. The green columns include formulas that will automatically calculate the valuation multiples.</a:t>
            </a:r>
            <a:endParaRPr lang="en-US" sz="1400" dirty="0">
              <a:solidFill>
                <a:srgbClr val="002060"/>
              </a:solidFill>
              <a:ea typeface="ＭＳ Ｐゴシック" pitchFamily="50" charset="-128"/>
            </a:endParaRPr>
          </a:p>
        </p:txBody>
      </p:sp>
    </p:spTree>
    <p:extLst>
      <p:ext uri="{BB962C8B-B14F-4D97-AF65-F5344CB8AC3E}">
        <p14:creationId xmlns:p14="http://schemas.microsoft.com/office/powerpoint/2010/main" val="11209143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ep 3. Select the most relevant past transactions</a:t>
            </a:r>
            <a:endParaRPr lang="en-US" sz="2000" b="0" kern="0" dirty="0">
              <a:solidFill>
                <a:schemeClr val="tx2">
                  <a:lumMod val="60000"/>
                  <a:lumOff val="40000"/>
                </a:schemeClr>
              </a:solidFill>
            </a:endParaRP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6</a:t>
            </a:fld>
            <a:endParaRPr lang="en-US" sz="1000" dirty="0">
              <a:solidFill>
                <a:srgbClr val="ADAFBB"/>
              </a:solidFill>
            </a:endParaRPr>
          </a:p>
        </p:txBody>
      </p:sp>
      <p:sp>
        <p:nvSpPr>
          <p:cNvPr id="3" name="TextBox 2">
            <a:extLst>
              <a:ext uri="{FF2B5EF4-FFF2-40B4-BE49-F238E27FC236}">
                <a16:creationId xmlns:a16="http://schemas.microsoft.com/office/drawing/2014/main" id="{4A86BE2E-9A5E-4932-B43D-23B6B0E5EFA4}"/>
              </a:ext>
            </a:extLst>
          </p:cNvPr>
          <p:cNvSpPr txBox="1"/>
          <p:nvPr/>
        </p:nvSpPr>
        <p:spPr>
          <a:xfrm>
            <a:off x="583474" y="1663337"/>
            <a:ext cx="11003689" cy="600164"/>
          </a:xfrm>
          <a:prstGeom prst="rect">
            <a:avLst/>
          </a:prstGeom>
          <a:noFill/>
        </p:spPr>
        <p:txBody>
          <a:bodyPr wrap="square" rtlCol="0">
            <a:spAutoFit/>
          </a:bodyPr>
          <a:lstStyle/>
          <a:p>
            <a:pPr>
              <a:spcBef>
                <a:spcPts val="300"/>
              </a:spcBef>
              <a:spcAft>
                <a:spcPts val="300"/>
              </a:spcAft>
            </a:pPr>
            <a:r>
              <a:rPr lang="en-US" sz="1400" dirty="0">
                <a:solidFill>
                  <a:srgbClr val="002060"/>
                </a:solidFill>
                <a:ea typeface="ＭＳ Ｐゴシック" pitchFamily="50" charset="-128"/>
              </a:rPr>
              <a:t>Based on all the data you gathered in the previous step, you should now be able to select only the most relevant past transactions.</a:t>
            </a:r>
          </a:p>
          <a:p>
            <a:pPr>
              <a:spcBef>
                <a:spcPts val="300"/>
              </a:spcBef>
              <a:spcAft>
                <a:spcPts val="300"/>
              </a:spcAft>
            </a:pPr>
            <a:r>
              <a:rPr lang="en-US" sz="1400" dirty="0">
                <a:solidFill>
                  <a:srgbClr val="002060"/>
                </a:solidFill>
                <a:ea typeface="ＭＳ Ｐゴシック" pitchFamily="50" charset="-128"/>
              </a:rPr>
              <a:t>In the Excel Document “Precedent Transaction </a:t>
            </a:r>
            <a:r>
              <a:rPr lang="en-US" sz="1400" dirty="0" err="1">
                <a:solidFill>
                  <a:srgbClr val="002060"/>
                </a:solidFill>
                <a:ea typeface="ＭＳ Ｐゴシック" pitchFamily="50" charset="-128"/>
              </a:rPr>
              <a:t>Analysis_Template</a:t>
            </a:r>
            <a:r>
              <a:rPr lang="en-US" sz="1400" dirty="0">
                <a:solidFill>
                  <a:srgbClr val="002060"/>
                </a:solidFill>
                <a:ea typeface="ＭＳ Ｐゴシック" pitchFamily="50" charset="-128"/>
              </a:rPr>
              <a:t>”, delete the entire line of each transaction that has not been shortlisted.</a:t>
            </a:r>
          </a:p>
        </p:txBody>
      </p:sp>
    </p:spTree>
    <p:extLst>
      <p:ext uri="{BB962C8B-B14F-4D97-AF65-F5344CB8AC3E}">
        <p14:creationId xmlns:p14="http://schemas.microsoft.com/office/powerpoint/2010/main" val="28758865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ep 4. Calculate the valuation multiples</a:t>
            </a:r>
            <a:endParaRPr lang="en-US" sz="2000" b="0" kern="0" dirty="0">
              <a:solidFill>
                <a:schemeClr val="tx2">
                  <a:lumMod val="60000"/>
                  <a:lumOff val="40000"/>
                </a:schemeClr>
              </a:solidFill>
            </a:endParaRP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7</a:t>
            </a:fld>
            <a:endParaRPr lang="en-US" sz="1000" dirty="0">
              <a:solidFill>
                <a:srgbClr val="ADAFBB"/>
              </a:solidFill>
            </a:endParaRPr>
          </a:p>
        </p:txBody>
      </p:sp>
      <p:sp>
        <p:nvSpPr>
          <p:cNvPr id="3" name="TextBox 2">
            <a:extLst>
              <a:ext uri="{FF2B5EF4-FFF2-40B4-BE49-F238E27FC236}">
                <a16:creationId xmlns:a16="http://schemas.microsoft.com/office/drawing/2014/main" id="{4A86BE2E-9A5E-4932-B43D-23B6B0E5EFA4}"/>
              </a:ext>
            </a:extLst>
          </p:cNvPr>
          <p:cNvSpPr txBox="1"/>
          <p:nvPr/>
        </p:nvSpPr>
        <p:spPr>
          <a:xfrm>
            <a:off x="583474" y="1663337"/>
            <a:ext cx="11003689" cy="3954929"/>
          </a:xfrm>
          <a:prstGeom prst="rect">
            <a:avLst/>
          </a:prstGeom>
          <a:noFill/>
        </p:spPr>
        <p:txBody>
          <a:bodyPr wrap="square" rtlCol="0">
            <a:spAutoFit/>
          </a:bodyPr>
          <a:lstStyle/>
          <a:p>
            <a:pPr>
              <a:spcBef>
                <a:spcPts val="300"/>
              </a:spcBef>
              <a:spcAft>
                <a:spcPts val="300"/>
              </a:spcAft>
            </a:pPr>
            <a:r>
              <a:rPr lang="en-US" sz="1400" b="1" dirty="0">
                <a:solidFill>
                  <a:srgbClr val="002060"/>
                </a:solidFill>
                <a:ea typeface="ＭＳ Ｐゴシック" pitchFamily="50" charset="-128"/>
              </a:rPr>
              <a:t>The most common multiples for precedent transaction analysis are:</a:t>
            </a:r>
          </a:p>
          <a:p>
            <a:pPr marL="285750" indent="-171450">
              <a:spcBef>
                <a:spcPts val="300"/>
              </a:spcBef>
              <a:spcAft>
                <a:spcPts val="300"/>
              </a:spcAft>
              <a:buFont typeface="Arial" panose="020B0604020202020204" pitchFamily="34" charset="0"/>
              <a:buChar char="•"/>
            </a:pPr>
            <a:r>
              <a:rPr lang="en-US" sz="1400" dirty="0">
                <a:solidFill>
                  <a:srgbClr val="002060"/>
                </a:solidFill>
                <a:ea typeface="ＭＳ Ｐゴシック" pitchFamily="50" charset="-128"/>
              </a:rPr>
              <a:t>Purchase Price Market Equity Value / Net Income</a:t>
            </a:r>
          </a:p>
          <a:p>
            <a:pPr marL="285750" indent="-171450">
              <a:spcBef>
                <a:spcPts val="300"/>
              </a:spcBef>
              <a:spcAft>
                <a:spcPts val="300"/>
              </a:spcAft>
              <a:buFont typeface="Arial" panose="020B0604020202020204" pitchFamily="34" charset="0"/>
              <a:buChar char="•"/>
            </a:pPr>
            <a:r>
              <a:rPr lang="en-US" sz="1400" dirty="0">
                <a:solidFill>
                  <a:srgbClr val="002060"/>
                </a:solidFill>
                <a:ea typeface="ＭＳ Ｐゴシック" pitchFamily="50" charset="-128"/>
              </a:rPr>
              <a:t>Purchase Price Enterprise Value / Revenue</a:t>
            </a:r>
          </a:p>
          <a:p>
            <a:pPr marL="285750" indent="-171450">
              <a:spcBef>
                <a:spcPts val="300"/>
              </a:spcBef>
              <a:spcAft>
                <a:spcPts val="300"/>
              </a:spcAft>
              <a:buFont typeface="Arial" panose="020B0604020202020204" pitchFamily="34" charset="0"/>
              <a:buChar char="•"/>
            </a:pPr>
            <a:r>
              <a:rPr lang="en-US" sz="1400" dirty="0">
                <a:solidFill>
                  <a:srgbClr val="002060"/>
                </a:solidFill>
                <a:ea typeface="ＭＳ Ｐゴシック" pitchFamily="50" charset="-128"/>
              </a:rPr>
              <a:t>Purchase Price Enterprise Value / EBITDA</a:t>
            </a:r>
          </a:p>
          <a:p>
            <a:pPr marL="285750" indent="-171450">
              <a:spcBef>
                <a:spcPts val="300"/>
              </a:spcBef>
              <a:spcAft>
                <a:spcPts val="300"/>
              </a:spcAft>
              <a:buFont typeface="Arial" panose="020B0604020202020204" pitchFamily="34" charset="0"/>
              <a:buChar char="•"/>
            </a:pPr>
            <a:r>
              <a:rPr lang="en-US" sz="1400" dirty="0">
                <a:solidFill>
                  <a:srgbClr val="002060"/>
                </a:solidFill>
                <a:ea typeface="ＭＳ Ｐゴシック" pitchFamily="50" charset="-128"/>
              </a:rPr>
              <a:t>Purchase Price Enterprise Value / EBIT</a:t>
            </a:r>
          </a:p>
          <a:p>
            <a:pPr marL="114300">
              <a:spcBef>
                <a:spcPts val="300"/>
              </a:spcBef>
              <a:spcAft>
                <a:spcPts val="300"/>
              </a:spcAft>
            </a:pPr>
            <a:endParaRPr lang="en-US" sz="1400" dirty="0">
              <a:solidFill>
                <a:srgbClr val="002060"/>
              </a:solidFill>
              <a:ea typeface="ＭＳ Ｐゴシック" pitchFamily="50" charset="-128"/>
            </a:endParaRPr>
          </a:p>
          <a:p>
            <a:pPr>
              <a:spcBef>
                <a:spcPts val="300"/>
              </a:spcBef>
              <a:spcAft>
                <a:spcPts val="300"/>
              </a:spcAft>
            </a:pPr>
            <a:r>
              <a:rPr lang="en-US" sz="1400" b="1" dirty="0">
                <a:solidFill>
                  <a:srgbClr val="002060"/>
                </a:solidFill>
                <a:ea typeface="ＭＳ Ｐゴシック" pitchFamily="50" charset="-128"/>
              </a:rPr>
              <a:t>The Excel document “Precedent Transaction </a:t>
            </a:r>
            <a:r>
              <a:rPr lang="en-US" sz="1400" b="1" dirty="0" err="1">
                <a:solidFill>
                  <a:srgbClr val="002060"/>
                </a:solidFill>
                <a:ea typeface="ＭＳ Ｐゴシック" pitchFamily="50" charset="-128"/>
              </a:rPr>
              <a:t>Analysis_Template</a:t>
            </a:r>
            <a:r>
              <a:rPr lang="en-US" sz="1400" b="1" dirty="0">
                <a:solidFill>
                  <a:srgbClr val="002060"/>
                </a:solidFill>
                <a:ea typeface="ＭＳ Ｐゴシック" pitchFamily="50" charset="-128"/>
              </a:rPr>
              <a:t>”, which was part of your purchase, includes in the green columns formulas that will automatically calculate:</a:t>
            </a:r>
          </a:p>
          <a:p>
            <a:pPr marL="285750" indent="-171450">
              <a:spcBef>
                <a:spcPts val="300"/>
              </a:spcBef>
              <a:spcAft>
                <a:spcPts val="300"/>
              </a:spcAft>
              <a:buFont typeface="Arial" panose="020B0604020202020204" pitchFamily="34" charset="0"/>
              <a:buChar char="•"/>
            </a:pPr>
            <a:r>
              <a:rPr lang="en-US" sz="1400" dirty="0">
                <a:solidFill>
                  <a:srgbClr val="002060"/>
                </a:solidFill>
                <a:ea typeface="ＭＳ Ｐゴシック" pitchFamily="50" charset="-128"/>
              </a:rPr>
              <a:t>The 4 valuation multiples mentioned above for each short-listed transaction</a:t>
            </a:r>
          </a:p>
          <a:p>
            <a:pPr marL="285750" indent="-171450">
              <a:spcBef>
                <a:spcPts val="300"/>
              </a:spcBef>
              <a:spcAft>
                <a:spcPts val="300"/>
              </a:spcAft>
              <a:buFont typeface="Arial" panose="020B0604020202020204" pitchFamily="34" charset="0"/>
              <a:buChar char="•"/>
            </a:pPr>
            <a:r>
              <a:rPr lang="en-US" sz="1400" dirty="0">
                <a:solidFill>
                  <a:srgbClr val="002060"/>
                </a:solidFill>
                <a:ea typeface="ＭＳ Ｐゴシック" pitchFamily="50" charset="-128"/>
              </a:rPr>
              <a:t>The average and median of each valuation multiple</a:t>
            </a:r>
          </a:p>
          <a:p>
            <a:pPr marL="285750" indent="-171450">
              <a:spcBef>
                <a:spcPts val="300"/>
              </a:spcBef>
              <a:spcAft>
                <a:spcPts val="300"/>
              </a:spcAft>
              <a:buFont typeface="Arial" panose="020B0604020202020204" pitchFamily="34" charset="0"/>
              <a:buChar char="•"/>
            </a:pPr>
            <a:r>
              <a:rPr lang="en-US" sz="1400" dirty="0">
                <a:solidFill>
                  <a:srgbClr val="002060"/>
                </a:solidFill>
                <a:ea typeface="ＭＳ Ｐゴシック" pitchFamily="50" charset="-128"/>
              </a:rPr>
              <a:t>The highest and lowest valuation multiple</a:t>
            </a:r>
          </a:p>
          <a:p>
            <a:pPr marL="285750" indent="-171450">
              <a:spcBef>
                <a:spcPts val="300"/>
              </a:spcBef>
              <a:spcAft>
                <a:spcPts val="300"/>
              </a:spcAft>
              <a:buFont typeface="Arial" panose="020B0604020202020204" pitchFamily="34" charset="0"/>
              <a:buChar char="•"/>
            </a:pPr>
            <a:endParaRPr lang="en-US" sz="1400" dirty="0">
              <a:solidFill>
                <a:srgbClr val="002060"/>
              </a:solidFill>
              <a:ea typeface="ＭＳ Ｐゴシック" pitchFamily="50" charset="-128"/>
            </a:endParaRPr>
          </a:p>
          <a:p>
            <a:pPr>
              <a:spcBef>
                <a:spcPts val="300"/>
              </a:spcBef>
              <a:spcAft>
                <a:spcPts val="300"/>
              </a:spcAft>
            </a:pPr>
            <a:r>
              <a:rPr lang="en-US" sz="1400" b="1" dirty="0">
                <a:solidFill>
                  <a:srgbClr val="002060"/>
                </a:solidFill>
                <a:ea typeface="ＭＳ Ｐゴシック" pitchFamily="50" charset="-128"/>
              </a:rPr>
              <a:t>You may decide to exclude any extreme outliers such as transactions that had EV/EBITDA multiples much lower or much higher than the average (assuming there is a good justification for doing so).</a:t>
            </a:r>
          </a:p>
        </p:txBody>
      </p:sp>
    </p:spTree>
    <p:extLst>
      <p:ext uri="{BB962C8B-B14F-4D97-AF65-F5344CB8AC3E}">
        <p14:creationId xmlns:p14="http://schemas.microsoft.com/office/powerpoint/2010/main" val="18273509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ep 5. Apply the valuation multiples to the company in question</a:t>
            </a:r>
            <a:endParaRPr lang="en-US" sz="2000" b="0" kern="0" dirty="0">
              <a:solidFill>
                <a:schemeClr val="tx2">
                  <a:lumMod val="60000"/>
                  <a:lumOff val="40000"/>
                </a:schemeClr>
              </a:solidFill>
            </a:endParaRP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8</a:t>
            </a:fld>
            <a:endParaRPr lang="en-US" sz="1000" dirty="0">
              <a:solidFill>
                <a:srgbClr val="ADAFBB"/>
              </a:solidFill>
            </a:endParaRPr>
          </a:p>
        </p:txBody>
      </p:sp>
      <p:sp>
        <p:nvSpPr>
          <p:cNvPr id="3" name="TextBox 2">
            <a:extLst>
              <a:ext uri="{FF2B5EF4-FFF2-40B4-BE49-F238E27FC236}">
                <a16:creationId xmlns:a16="http://schemas.microsoft.com/office/drawing/2014/main" id="{4A86BE2E-9A5E-4932-B43D-23B6B0E5EFA4}"/>
              </a:ext>
            </a:extLst>
          </p:cNvPr>
          <p:cNvSpPr txBox="1"/>
          <p:nvPr/>
        </p:nvSpPr>
        <p:spPr>
          <a:xfrm>
            <a:off x="583474" y="1663337"/>
            <a:ext cx="11003689" cy="2492990"/>
          </a:xfrm>
          <a:prstGeom prst="rect">
            <a:avLst/>
          </a:prstGeom>
          <a:noFill/>
        </p:spPr>
        <p:txBody>
          <a:bodyPr wrap="square" rtlCol="0">
            <a:spAutoFit/>
          </a:bodyPr>
          <a:lstStyle/>
          <a:p>
            <a:pPr>
              <a:spcBef>
                <a:spcPts val="300"/>
              </a:spcBef>
              <a:spcAft>
                <a:spcPts val="300"/>
              </a:spcAft>
            </a:pPr>
            <a:r>
              <a:rPr lang="en-US" sz="1400" b="1" dirty="0">
                <a:solidFill>
                  <a:srgbClr val="002060"/>
                </a:solidFill>
                <a:ea typeface="ＭＳ Ｐゴシック" pitchFamily="50" charset="-128"/>
              </a:rPr>
              <a:t>After a range of valuation multiples from past transactions has been determined, those ratios can be applied to the financial metrics of the company in question. </a:t>
            </a:r>
          </a:p>
          <a:p>
            <a:pPr>
              <a:spcBef>
                <a:spcPts val="300"/>
              </a:spcBef>
              <a:spcAft>
                <a:spcPts val="300"/>
              </a:spcAft>
            </a:pPr>
            <a:endParaRPr lang="en-US" sz="1400" b="1" dirty="0">
              <a:solidFill>
                <a:srgbClr val="002060"/>
              </a:solidFill>
              <a:ea typeface="ＭＳ Ｐゴシック" pitchFamily="50" charset="-128"/>
            </a:endParaRPr>
          </a:p>
          <a:p>
            <a:pPr>
              <a:spcBef>
                <a:spcPts val="300"/>
              </a:spcBef>
              <a:spcAft>
                <a:spcPts val="300"/>
              </a:spcAft>
            </a:pPr>
            <a:r>
              <a:rPr lang="en-US" sz="1400" b="1" dirty="0">
                <a:solidFill>
                  <a:srgbClr val="002060"/>
                </a:solidFill>
                <a:ea typeface="ＭＳ Ｐゴシック" pitchFamily="50" charset="-128"/>
              </a:rPr>
              <a:t>For example, if you have:</a:t>
            </a:r>
          </a:p>
          <a:p>
            <a:pPr marL="285750" indent="-171450">
              <a:spcBef>
                <a:spcPts val="300"/>
              </a:spcBef>
              <a:spcAft>
                <a:spcPts val="300"/>
              </a:spcAft>
              <a:buFont typeface="Arial" panose="020B0604020202020204" pitchFamily="34" charset="0"/>
              <a:buChar char="•"/>
            </a:pPr>
            <a:r>
              <a:rPr lang="en-US" sz="1400" dirty="0">
                <a:solidFill>
                  <a:srgbClr val="002060"/>
                </a:solidFill>
                <a:ea typeface="ＭＳ Ｐゴシック" pitchFamily="50" charset="-128"/>
              </a:rPr>
              <a:t>5x EV/EBIT (low)</a:t>
            </a:r>
          </a:p>
          <a:p>
            <a:pPr marL="285750" indent="-171450">
              <a:spcBef>
                <a:spcPts val="300"/>
              </a:spcBef>
              <a:spcAft>
                <a:spcPts val="300"/>
              </a:spcAft>
              <a:buFont typeface="Arial" panose="020B0604020202020204" pitchFamily="34" charset="0"/>
              <a:buChar char="•"/>
            </a:pPr>
            <a:r>
              <a:rPr lang="en-US" sz="1400" dirty="0">
                <a:solidFill>
                  <a:srgbClr val="002060"/>
                </a:solidFill>
                <a:ea typeface="ＭＳ Ｐゴシック" pitchFamily="50" charset="-128"/>
              </a:rPr>
              <a:t>9x EV/EBIT (high)</a:t>
            </a:r>
          </a:p>
          <a:p>
            <a:pPr marL="114300">
              <a:spcBef>
                <a:spcPts val="300"/>
              </a:spcBef>
              <a:spcAft>
                <a:spcPts val="300"/>
              </a:spcAft>
            </a:pPr>
            <a:endParaRPr lang="en-US" sz="1400" dirty="0">
              <a:solidFill>
                <a:srgbClr val="002060"/>
              </a:solidFill>
              <a:ea typeface="ＭＳ Ｐゴシック" pitchFamily="50" charset="-128"/>
            </a:endParaRPr>
          </a:p>
          <a:p>
            <a:pPr>
              <a:spcBef>
                <a:spcPts val="300"/>
              </a:spcBef>
              <a:spcAft>
                <a:spcPts val="300"/>
              </a:spcAft>
            </a:pPr>
            <a:r>
              <a:rPr lang="en-US" sz="1400" b="1" dirty="0">
                <a:solidFill>
                  <a:srgbClr val="002060"/>
                </a:solidFill>
                <a:ea typeface="ＭＳ Ｐゴシック" pitchFamily="50" charset="-128"/>
              </a:rPr>
              <a:t>…and the EBIT of the company in question is $100 million, then the valuation of the business may be somewhere between $500 million and $900 million</a:t>
            </a:r>
          </a:p>
        </p:txBody>
      </p:sp>
    </p:spTree>
    <p:extLst>
      <p:ext uri="{BB962C8B-B14F-4D97-AF65-F5344CB8AC3E}">
        <p14:creationId xmlns:p14="http://schemas.microsoft.com/office/powerpoint/2010/main" val="26403032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313AF4-C8B1-42E4-ACB5-22D9C13E370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Thanks for your attention!</a:t>
            </a:r>
          </a:p>
        </p:txBody>
      </p:sp>
      <p:sp>
        <p:nvSpPr>
          <p:cNvPr id="8" name="Slide Number Placeholder 7">
            <a:extLst>
              <a:ext uri="{FF2B5EF4-FFF2-40B4-BE49-F238E27FC236}">
                <a16:creationId xmlns:a16="http://schemas.microsoft.com/office/drawing/2014/main" id="{3D029769-9B2F-4A51-8446-2206A9A2EF30}"/>
              </a:ext>
            </a:extLst>
          </p:cNvPr>
          <p:cNvSpPr>
            <a:spLocks noGrp="1"/>
          </p:cNvSpPr>
          <p:nvPr>
            <p:ph type="sldNum" sz="quarter" idx="4"/>
          </p:nvPr>
        </p:nvSpPr>
        <p:spPr/>
        <p:txBody>
          <a:bodyPr/>
          <a:lstStyle/>
          <a:p>
            <a:fld id="{37F5C94B-8C55-478B-B509-BAE6A06B2E2A}" type="slidenum">
              <a:rPr lang="en-US" sz="900" smtClean="0">
                <a:solidFill>
                  <a:srgbClr val="ADAFBB"/>
                </a:solidFill>
              </a:rPr>
              <a:pPr/>
              <a:t>9</a:t>
            </a:fld>
            <a:endParaRPr lang="en-US" sz="1000" dirty="0">
              <a:solidFill>
                <a:srgbClr val="ADAFBB"/>
              </a:solidFill>
            </a:endParaRPr>
          </a:p>
        </p:txBody>
      </p:sp>
      <p:sp>
        <p:nvSpPr>
          <p:cNvPr id="21" name="Rectangle 20">
            <a:extLst>
              <a:ext uri="{FF2B5EF4-FFF2-40B4-BE49-F238E27FC236}">
                <a16:creationId xmlns:a16="http://schemas.microsoft.com/office/drawing/2014/main" id="{E8DAB30E-4A95-4189-A17B-D6BED1B10135}"/>
              </a:ext>
            </a:extLst>
          </p:cNvPr>
          <p:cNvSpPr/>
          <p:nvPr/>
        </p:nvSpPr>
        <p:spPr>
          <a:xfrm>
            <a:off x="4993256"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hlinkClick r:id="rId7"/>
            <a:extLst>
              <a:ext uri="{FF2B5EF4-FFF2-40B4-BE49-F238E27FC236}">
                <a16:creationId xmlns:a16="http://schemas.microsoft.com/office/drawing/2014/main" id="{771DD74C-7D3F-DE9F-D2F1-58329D0C3585}"/>
              </a:ext>
            </a:extLst>
          </p:cNvPr>
          <p:cNvPicPr>
            <a:picLocks noChangeAspect="1"/>
          </p:cNvPicPr>
          <p:nvPr/>
        </p:nvPicPr>
        <p:blipFill>
          <a:blip r:embed="rId8"/>
          <a:stretch>
            <a:fillRect/>
          </a:stretch>
        </p:blipFill>
        <p:spPr>
          <a:xfrm>
            <a:off x="3394834" y="3004556"/>
            <a:ext cx="5038200" cy="1184972"/>
          </a:xfrm>
          <a:prstGeom prst="rect">
            <a:avLst/>
          </a:prstGeom>
        </p:spPr>
      </p:pic>
      <p:sp>
        <p:nvSpPr>
          <p:cNvPr id="9" name="TextBox 8">
            <a:extLst>
              <a:ext uri="{FF2B5EF4-FFF2-40B4-BE49-F238E27FC236}">
                <a16:creationId xmlns:a16="http://schemas.microsoft.com/office/drawing/2014/main" id="{4D7FB609-A863-8150-7235-F7110B23F9D1}"/>
              </a:ext>
            </a:extLst>
          </p:cNvPr>
          <p:cNvSpPr txBox="1"/>
          <p:nvPr/>
        </p:nvSpPr>
        <p:spPr>
          <a:xfrm>
            <a:off x="4077852" y="4302860"/>
            <a:ext cx="3672164" cy="369332"/>
          </a:xfrm>
          <a:prstGeom prst="rect">
            <a:avLst/>
          </a:prstGeom>
          <a:noFill/>
        </p:spPr>
        <p:txBody>
          <a:bodyPr wrap="square" rtlCol="0">
            <a:spAutoFit/>
          </a:bodyPr>
          <a:lstStyle/>
          <a:p>
            <a:pPr algn="ctr"/>
            <a:r>
              <a:rPr lang="en-US" dirty="0">
                <a:solidFill>
                  <a:srgbClr val="00B0F0"/>
                </a:solidFill>
                <a:hlinkClick r:id="rId9"/>
              </a:rPr>
              <a:t>www.domontconsulting.com</a:t>
            </a:r>
            <a:r>
              <a:rPr lang="en-US" dirty="0">
                <a:solidFill>
                  <a:srgbClr val="00B0F0"/>
                </a:solidFill>
              </a:rPr>
              <a:t> </a:t>
            </a:r>
          </a:p>
        </p:txBody>
      </p:sp>
    </p:spTree>
    <p:extLst>
      <p:ext uri="{BB962C8B-B14F-4D97-AF65-F5344CB8AC3E}">
        <p14:creationId xmlns:p14="http://schemas.microsoft.com/office/powerpoint/2010/main" val="12897254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_sEHY7w9p97v31oJEX9mA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RHFj9g7Zy2LthORA4sdb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customXml/itemProps2.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EE8C63A-4744-4DE4-BB49-0FF0B5375C6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481</TotalTime>
  <Words>659</Words>
  <Application>Microsoft Office PowerPoint</Application>
  <PresentationFormat>Widescreen</PresentationFormat>
  <Paragraphs>85</Paragraphs>
  <Slides>9</Slides>
  <Notes>9</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4" baseType="lpstr">
      <vt:lpstr>Arial</vt:lpstr>
      <vt:lpstr>Calibri</vt:lpstr>
      <vt:lpstr>Wingdings 3</vt:lpstr>
      <vt:lpstr>Custom Design</vt:lpstr>
      <vt:lpstr>think-cell Slide</vt:lpstr>
      <vt:lpstr>Precedent Transaction Analysis</vt:lpstr>
      <vt:lpstr>Precedent transaction Analysis Definition</vt:lpstr>
      <vt:lpstr>A Precedent transaction Analysis can be done by following 5 simple steps</vt:lpstr>
      <vt:lpstr>Step 1. List potential relevant past transactions</vt:lpstr>
      <vt:lpstr>Step 2. Gather data for each transaction</vt:lpstr>
      <vt:lpstr>Step 3. Select the most relevant past transactions</vt:lpstr>
      <vt:lpstr>Step 4. Calculate the valuation multiples</vt:lpstr>
      <vt:lpstr>Step 5. Apply the valuation multiples to the company in question</vt:lpstr>
      <vt:lpstr>Thanks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367</cp:revision>
  <dcterms:created xsi:type="dcterms:W3CDTF">2020-07-08T04:44:55Z</dcterms:created>
  <dcterms:modified xsi:type="dcterms:W3CDTF">2023-02-02T01:59:49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